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821" r:id="rId5"/>
    <p:sldMasterId id="2147483850" r:id="rId6"/>
  </p:sldMasterIdLst>
  <p:notesMasterIdLst>
    <p:notesMasterId r:id="rId20"/>
  </p:notesMasterIdLst>
  <p:handoutMasterIdLst>
    <p:handoutMasterId r:id="rId21"/>
  </p:handoutMasterIdLst>
  <p:sldIdLst>
    <p:sldId id="6694" r:id="rId7"/>
    <p:sldId id="6704" r:id="rId8"/>
    <p:sldId id="6682" r:id="rId9"/>
    <p:sldId id="6699" r:id="rId10"/>
    <p:sldId id="6698" r:id="rId11"/>
    <p:sldId id="6692" r:id="rId12"/>
    <p:sldId id="6693" r:id="rId13"/>
    <p:sldId id="6688" r:id="rId14"/>
    <p:sldId id="6705" r:id="rId15"/>
    <p:sldId id="6691" r:id="rId16"/>
    <p:sldId id="6703" r:id="rId17"/>
    <p:sldId id="6684" r:id="rId18"/>
    <p:sldId id="6706" r:id="rId19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E8ED5"/>
    <a:srgbClr val="79ADC2"/>
    <a:srgbClr val="F2F2F2"/>
    <a:srgbClr val="8DCAE7"/>
    <a:srgbClr val="3C586E"/>
    <a:srgbClr val="F6DADF"/>
    <a:srgbClr val="C6C6EA"/>
    <a:srgbClr val="EDEDED"/>
    <a:srgbClr val="0082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4184FA-5CD8-4002-A2E7-1C3EB0F57462}" v="1185" dt="2021-05-20T09:03:39.6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720" y="52"/>
      </p:cViewPr>
      <p:guideLst>
        <p:guide orient="horz" pos="1620"/>
        <p:guide orient="horz" pos="191"/>
        <p:guide orient="horz" pos="854"/>
        <p:guide orient="horz" pos="821"/>
        <p:guide orient="horz" pos="3049"/>
        <p:guide orient="horz" pos="3151"/>
        <p:guide pos="2880"/>
        <p:guide pos="476"/>
        <p:guide pos="5193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ESCAT Ophelie" userId="S::ophelie.tescat_soprasterianext.com#ext#@be4you.onmicrosoft.com::7b9d2a5f-995c-4b27-ae94-c47be7890bfd" providerId="AD" clId="Web-{3A5CBCC7-A884-4E85-95D1-2D4944050049}"/>
    <pc:docChg chg="delSld">
      <pc:chgData name="TESCAT Ophelie" userId="S::ophelie.tescat_soprasterianext.com#ext#@be4you.onmicrosoft.com::7b9d2a5f-995c-4b27-ae94-c47be7890bfd" providerId="AD" clId="Web-{3A5CBCC7-A884-4E85-95D1-2D4944050049}" dt="2021-04-30T14:32:15.461" v="0"/>
      <pc:docMkLst>
        <pc:docMk/>
      </pc:docMkLst>
      <pc:sldChg chg="del">
        <pc:chgData name="TESCAT Ophelie" userId="S::ophelie.tescat_soprasterianext.com#ext#@be4you.onmicrosoft.com::7b9d2a5f-995c-4b27-ae94-c47be7890bfd" providerId="AD" clId="Web-{3A5CBCC7-A884-4E85-95D1-2D4944050049}" dt="2021-04-30T14:32:15.461" v="0"/>
        <pc:sldMkLst>
          <pc:docMk/>
          <pc:sldMk cId="2708814654" sldId="6698"/>
        </pc:sldMkLst>
      </pc:sldChg>
    </pc:docChg>
  </pc:docChgLst>
  <pc:docChgLst>
    <pc:chgData name="Braun, Pascal" userId="e97c6705-55e6-4901-8a33-cac116ea148a" providerId="ADAL" clId="{F709F169-648D-4FED-A512-EF5E9839223C}"/>
    <pc:docChg chg="undo custSel modSld">
      <pc:chgData name="Braun, Pascal" userId="e97c6705-55e6-4901-8a33-cac116ea148a" providerId="ADAL" clId="{F709F169-648D-4FED-A512-EF5E9839223C}" dt="2021-05-17T08:50:55.773" v="628" actId="13926"/>
      <pc:docMkLst>
        <pc:docMk/>
      </pc:docMkLst>
      <pc:sldChg chg="modSp mod">
        <pc:chgData name="Braun, Pascal" userId="e97c6705-55e6-4901-8a33-cac116ea148a" providerId="ADAL" clId="{F709F169-648D-4FED-A512-EF5E9839223C}" dt="2021-05-17T07:52:44.269" v="81" actId="14100"/>
        <pc:sldMkLst>
          <pc:docMk/>
          <pc:sldMk cId="345229976" sldId="6682"/>
        </pc:sldMkLst>
        <pc:spChg chg="mod">
          <ac:chgData name="Braun, Pascal" userId="e97c6705-55e6-4901-8a33-cac116ea148a" providerId="ADAL" clId="{F709F169-648D-4FED-A512-EF5E9839223C}" dt="2021-05-17T07:52:44.269" v="81" actId="14100"/>
          <ac:spMkLst>
            <pc:docMk/>
            <pc:sldMk cId="345229976" sldId="6682"/>
            <ac:spMk id="9" creationId="{00000000-0000-0000-0000-000000000000}"/>
          </ac:spMkLst>
        </pc:spChg>
      </pc:sldChg>
      <pc:sldChg chg="addSp modSp mod">
        <pc:chgData name="Braun, Pascal" userId="e97c6705-55e6-4901-8a33-cac116ea148a" providerId="ADAL" clId="{F709F169-648D-4FED-A512-EF5E9839223C}" dt="2021-05-17T08:50:55.773" v="628" actId="13926"/>
        <pc:sldMkLst>
          <pc:docMk/>
          <pc:sldMk cId="3463086187" sldId="6685"/>
        </pc:sldMkLst>
        <pc:spChg chg="mod">
          <ac:chgData name="Braun, Pascal" userId="e97c6705-55e6-4901-8a33-cac116ea148a" providerId="ADAL" clId="{F709F169-648D-4FED-A512-EF5E9839223C}" dt="2021-05-17T08:50:55.773" v="628" actId="13926"/>
          <ac:spMkLst>
            <pc:docMk/>
            <pc:sldMk cId="3463086187" sldId="6685"/>
            <ac:spMk id="4" creationId="{00000000-0000-0000-0000-000000000000}"/>
          </ac:spMkLst>
        </pc:spChg>
        <pc:spChg chg="add mod">
          <ac:chgData name="Braun, Pascal" userId="e97c6705-55e6-4901-8a33-cac116ea148a" providerId="ADAL" clId="{F709F169-648D-4FED-A512-EF5E9839223C}" dt="2021-05-17T08:49:51.483" v="627" actId="255"/>
          <ac:spMkLst>
            <pc:docMk/>
            <pc:sldMk cId="3463086187" sldId="6685"/>
            <ac:spMk id="6" creationId="{F1111623-7F8E-4BC8-901E-DEF733538A1A}"/>
          </ac:spMkLst>
        </pc:spChg>
      </pc:sldChg>
      <pc:sldChg chg="addSp delSp modSp mod">
        <pc:chgData name="Braun, Pascal" userId="e97c6705-55e6-4901-8a33-cac116ea148a" providerId="ADAL" clId="{F709F169-648D-4FED-A512-EF5E9839223C}" dt="2021-05-17T08:46:06.670" v="605" actId="21"/>
        <pc:sldMkLst>
          <pc:docMk/>
          <pc:sldMk cId="1495548566" sldId="6688"/>
        </pc:sldMkLst>
        <pc:spChg chg="mod">
          <ac:chgData name="Braun, Pascal" userId="e97c6705-55e6-4901-8a33-cac116ea148a" providerId="ADAL" clId="{F709F169-648D-4FED-A512-EF5E9839223C}" dt="2021-05-12T12:39:04.841" v="30" actId="20577"/>
          <ac:spMkLst>
            <pc:docMk/>
            <pc:sldMk cId="1495548566" sldId="6688"/>
            <ac:spMk id="3" creationId="{00000000-0000-0000-0000-000000000000}"/>
          </ac:spMkLst>
        </pc:spChg>
        <pc:spChg chg="add del mod">
          <ac:chgData name="Braun, Pascal" userId="e97c6705-55e6-4901-8a33-cac116ea148a" providerId="ADAL" clId="{F709F169-648D-4FED-A512-EF5E9839223C}" dt="2021-05-17T08:46:06.670" v="605" actId="21"/>
          <ac:spMkLst>
            <pc:docMk/>
            <pc:sldMk cId="1495548566" sldId="6688"/>
            <ac:spMk id="6" creationId="{15C69097-B2A0-4A62-9308-DFE1F7BA9F59}"/>
          </ac:spMkLst>
        </pc:spChg>
        <pc:spChg chg="mod">
          <ac:chgData name="Braun, Pascal" userId="e97c6705-55e6-4901-8a33-cac116ea148a" providerId="ADAL" clId="{F709F169-648D-4FED-A512-EF5E9839223C}" dt="2021-05-17T08:04:05.450" v="249" actId="14100"/>
          <ac:spMkLst>
            <pc:docMk/>
            <pc:sldMk cId="1495548566" sldId="6688"/>
            <ac:spMk id="18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45:41.537" v="604" actId="20577"/>
          <ac:spMkLst>
            <pc:docMk/>
            <pc:sldMk cId="1495548566" sldId="6688"/>
            <ac:spMk id="24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1:21.494" v="158" actId="552"/>
          <ac:spMkLst>
            <pc:docMk/>
            <pc:sldMk cId="1495548566" sldId="6688"/>
            <ac:spMk id="40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2:55.827" v="229" actId="1036"/>
          <ac:spMkLst>
            <pc:docMk/>
            <pc:sldMk cId="1495548566" sldId="6688"/>
            <ac:spMk id="41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2:55.827" v="229" actId="1036"/>
          <ac:spMkLst>
            <pc:docMk/>
            <pc:sldMk cId="1495548566" sldId="6688"/>
            <ac:spMk id="42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2:55.827" v="229" actId="1036"/>
          <ac:spMkLst>
            <pc:docMk/>
            <pc:sldMk cId="1495548566" sldId="6688"/>
            <ac:spMk id="48" creationId="{00000000-0000-0000-0000-000000000000}"/>
          </ac:spMkLst>
        </pc:spChg>
      </pc:sldChg>
      <pc:sldChg chg="modSp mod">
        <pc:chgData name="Braun, Pascal" userId="e97c6705-55e6-4901-8a33-cac116ea148a" providerId="ADAL" clId="{F709F169-648D-4FED-A512-EF5E9839223C}" dt="2021-05-17T08:48:46.406" v="623" actId="20577"/>
        <pc:sldMkLst>
          <pc:docMk/>
          <pc:sldMk cId="550908084" sldId="6691"/>
        </pc:sldMkLst>
        <pc:spChg chg="mod">
          <ac:chgData name="Braun, Pascal" userId="e97c6705-55e6-4901-8a33-cac116ea148a" providerId="ADAL" clId="{F709F169-648D-4FED-A512-EF5E9839223C}" dt="2021-05-17T08:48:46.406" v="623" actId="20577"/>
          <ac:spMkLst>
            <pc:docMk/>
            <pc:sldMk cId="550908084" sldId="6691"/>
            <ac:spMk id="3" creationId="{00000000-0000-0000-0000-000000000000}"/>
          </ac:spMkLst>
        </pc:spChg>
      </pc:sldChg>
      <pc:sldChg chg="modSp mod">
        <pc:chgData name="Braun, Pascal" userId="e97c6705-55e6-4901-8a33-cac116ea148a" providerId="ADAL" clId="{F709F169-648D-4FED-A512-EF5E9839223C}" dt="2021-05-17T08:00:08.087" v="137" actId="20577"/>
        <pc:sldMkLst>
          <pc:docMk/>
          <pc:sldMk cId="395180946" sldId="6693"/>
        </pc:sldMkLst>
        <pc:spChg chg="mod">
          <ac:chgData name="Braun, Pascal" userId="e97c6705-55e6-4901-8a33-cac116ea148a" providerId="ADAL" clId="{F709F169-648D-4FED-A512-EF5E9839223C}" dt="2021-05-17T08:00:08.087" v="137" actId="20577"/>
          <ac:spMkLst>
            <pc:docMk/>
            <pc:sldMk cId="395180946" sldId="6693"/>
            <ac:spMk id="2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7:59:28.334" v="131" actId="552"/>
          <ac:spMkLst>
            <pc:docMk/>
            <pc:sldMk cId="395180946" sldId="6693"/>
            <ac:spMk id="6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7:59:28.334" v="131" actId="552"/>
          <ac:spMkLst>
            <pc:docMk/>
            <pc:sldMk cId="395180946" sldId="6693"/>
            <ac:spMk id="13" creationId="{0AC96552-A568-429A-A443-8599C91B51B5}"/>
          </ac:spMkLst>
        </pc:spChg>
        <pc:spChg chg="mod">
          <ac:chgData name="Braun, Pascal" userId="e97c6705-55e6-4901-8a33-cac116ea148a" providerId="ADAL" clId="{F709F169-648D-4FED-A512-EF5E9839223C}" dt="2021-05-17T07:59:28.334" v="131" actId="552"/>
          <ac:spMkLst>
            <pc:docMk/>
            <pc:sldMk cId="395180946" sldId="6693"/>
            <ac:spMk id="19" creationId="{00000000-0000-0000-0000-000000000000}"/>
          </ac:spMkLst>
        </pc:spChg>
      </pc:sldChg>
      <pc:sldChg chg="modSp mod">
        <pc:chgData name="Braun, Pascal" userId="e97c6705-55e6-4901-8a33-cac116ea148a" providerId="ADAL" clId="{F709F169-648D-4FED-A512-EF5E9839223C}" dt="2021-05-17T08:41:41.356" v="596" actId="13926"/>
        <pc:sldMkLst>
          <pc:docMk/>
          <pc:sldMk cId="357860377" sldId="6694"/>
        </pc:sldMkLst>
        <pc:spChg chg="mod">
          <ac:chgData name="Braun, Pascal" userId="e97c6705-55e6-4901-8a33-cac116ea148a" providerId="ADAL" clId="{F709F169-648D-4FED-A512-EF5E9839223C}" dt="2021-05-17T08:41:41.356" v="596" actId="13926"/>
          <ac:spMkLst>
            <pc:docMk/>
            <pc:sldMk cId="357860377" sldId="6694"/>
            <ac:spMk id="4" creationId="{00000000-0000-0000-0000-000000000000}"/>
          </ac:spMkLst>
        </pc:spChg>
      </pc:sldChg>
      <pc:sldChg chg="addSp modSp mod">
        <pc:chgData name="Braun, Pascal" userId="e97c6705-55e6-4901-8a33-cac116ea148a" providerId="ADAL" clId="{F709F169-648D-4FED-A512-EF5E9839223C}" dt="2021-05-17T07:56:03.294" v="130" actId="1076"/>
        <pc:sldMkLst>
          <pc:docMk/>
          <pc:sldMk cId="1692166078" sldId="6699"/>
        </pc:sldMkLst>
        <pc:spChg chg="add mod">
          <ac:chgData name="Braun, Pascal" userId="e97c6705-55e6-4901-8a33-cac116ea148a" providerId="ADAL" clId="{F709F169-648D-4FED-A512-EF5E9839223C}" dt="2021-05-17T07:56:03.294" v="130" actId="1076"/>
          <ac:spMkLst>
            <pc:docMk/>
            <pc:sldMk cId="1692166078" sldId="6699"/>
            <ac:spMk id="7" creationId="{510537E4-BEA2-4D2C-BF25-D536BC690C58}"/>
          </ac:spMkLst>
        </pc:spChg>
      </pc:sldChg>
      <pc:sldChg chg="addSp modSp mod">
        <pc:chgData name="Braun, Pascal" userId="e97c6705-55e6-4901-8a33-cac116ea148a" providerId="ADAL" clId="{F709F169-648D-4FED-A512-EF5E9839223C}" dt="2021-05-17T08:49:17.081" v="626" actId="1076"/>
        <pc:sldMkLst>
          <pc:docMk/>
          <pc:sldMk cId="3034480701" sldId="6703"/>
        </pc:sldMkLst>
        <pc:spChg chg="add mod">
          <ac:chgData name="Braun, Pascal" userId="e97c6705-55e6-4901-8a33-cac116ea148a" providerId="ADAL" clId="{F709F169-648D-4FED-A512-EF5E9839223C}" dt="2021-05-17T08:08:54.666" v="398" actId="1076"/>
          <ac:spMkLst>
            <pc:docMk/>
            <pc:sldMk cId="3034480701" sldId="6703"/>
            <ac:spMk id="8" creationId="{3AE2F5CF-F3FA-4BD8-A3DF-43CE34CA7343}"/>
          </ac:spMkLst>
        </pc:spChg>
        <pc:spChg chg="add mod">
          <ac:chgData name="Braun, Pascal" userId="e97c6705-55e6-4901-8a33-cac116ea148a" providerId="ADAL" clId="{F709F169-648D-4FED-A512-EF5E9839223C}" dt="2021-05-17T08:49:07.576" v="625" actId="1076"/>
          <ac:spMkLst>
            <pc:docMk/>
            <pc:sldMk cId="3034480701" sldId="6703"/>
            <ac:spMk id="24" creationId="{62AE4DCF-58E2-4EE9-9941-84262104A83E}"/>
          </ac:spMkLst>
        </pc:spChg>
        <pc:spChg chg="mod">
          <ac:chgData name="Braun, Pascal" userId="e97c6705-55e6-4901-8a33-cac116ea148a" providerId="ADAL" clId="{F709F169-648D-4FED-A512-EF5E9839223C}" dt="2021-05-17T08:49:17.081" v="626" actId="1076"/>
          <ac:spMkLst>
            <pc:docMk/>
            <pc:sldMk cId="3034480701" sldId="6703"/>
            <ac:spMk id="44" creationId="{00000000-0000-0000-0000-000000000000}"/>
          </ac:spMkLst>
        </pc:spChg>
      </pc:sldChg>
      <pc:sldChg chg="addSp modSp mod">
        <pc:chgData name="Braun, Pascal" userId="e97c6705-55e6-4901-8a33-cac116ea148a" providerId="ADAL" clId="{F709F169-648D-4FED-A512-EF5E9839223C}" dt="2021-05-17T08:47:55.335" v="608" actId="1076"/>
        <pc:sldMkLst>
          <pc:docMk/>
          <pc:sldMk cId="616927707" sldId="6705"/>
        </pc:sldMkLst>
        <pc:spChg chg="mod">
          <ac:chgData name="Braun, Pascal" userId="e97c6705-55e6-4901-8a33-cac116ea148a" providerId="ADAL" clId="{F709F169-648D-4FED-A512-EF5E9839223C}" dt="2021-05-12T12:21:35.743" v="12" actId="20577"/>
          <ac:spMkLst>
            <pc:docMk/>
            <pc:sldMk cId="616927707" sldId="6705"/>
            <ac:spMk id="3" creationId="{00000000-0000-0000-0000-000000000000}"/>
          </ac:spMkLst>
        </pc:spChg>
        <pc:spChg chg="add mod">
          <ac:chgData name="Braun, Pascal" userId="e97c6705-55e6-4901-8a33-cac116ea148a" providerId="ADAL" clId="{F709F169-648D-4FED-A512-EF5E9839223C}" dt="2021-05-17T08:05:32.463" v="293" actId="255"/>
          <ac:spMkLst>
            <pc:docMk/>
            <pc:sldMk cId="616927707" sldId="6705"/>
            <ac:spMk id="6" creationId="{5765478F-DC48-4235-9F5B-0EDD2EA42ACB}"/>
          </ac:spMkLst>
        </pc:spChg>
        <pc:spChg chg="add mod">
          <ac:chgData name="Braun, Pascal" userId="e97c6705-55e6-4901-8a33-cac116ea148a" providerId="ADAL" clId="{F709F169-648D-4FED-A512-EF5E9839223C}" dt="2021-05-17T08:47:55.335" v="608" actId="1076"/>
          <ac:spMkLst>
            <pc:docMk/>
            <pc:sldMk cId="616927707" sldId="6705"/>
            <ac:spMk id="7" creationId="{7F7E1E5E-CCAB-4D0D-9679-F834C33B3A58}"/>
          </ac:spMkLst>
        </pc:spChg>
        <pc:spChg chg="mod">
          <ac:chgData name="Braun, Pascal" userId="e97c6705-55e6-4901-8a33-cac116ea148a" providerId="ADAL" clId="{F709F169-648D-4FED-A512-EF5E9839223C}" dt="2021-05-17T08:47:51.131" v="607" actId="20577"/>
          <ac:spMkLst>
            <pc:docMk/>
            <pc:sldMk cId="616927707" sldId="6705"/>
            <ac:spMk id="25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6:14.013" v="348" actId="1038"/>
          <ac:spMkLst>
            <pc:docMk/>
            <pc:sldMk cId="616927707" sldId="6705"/>
            <ac:spMk id="31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7T08:06:20.338" v="354" actId="1038"/>
          <ac:spMkLst>
            <pc:docMk/>
            <pc:sldMk cId="616927707" sldId="6705"/>
            <ac:spMk id="32" creationId="{00000000-0000-0000-0000-000000000000}"/>
          </ac:spMkLst>
        </pc:spChg>
        <pc:spChg chg="mod">
          <ac:chgData name="Braun, Pascal" userId="e97c6705-55e6-4901-8a33-cac116ea148a" providerId="ADAL" clId="{F709F169-648D-4FED-A512-EF5E9839223C}" dt="2021-05-12T12:20:43.425" v="0" actId="1076"/>
          <ac:spMkLst>
            <pc:docMk/>
            <pc:sldMk cId="616927707" sldId="6705"/>
            <ac:spMk id="43" creationId="{00000000-0000-0000-0000-000000000000}"/>
          </ac:spMkLst>
        </pc:spChg>
      </pc:sldChg>
    </pc:docChg>
  </pc:docChgLst>
  <pc:docChgLst>
    <pc:chgData name="Braun, Pascal" userId="e97c6705-55e6-4901-8a33-cac116ea148a" providerId="ADAL" clId="{EE89E251-3232-47F3-908A-E28A4533BC36}"/>
    <pc:docChg chg="custSel modSld">
      <pc:chgData name="Braun, Pascal" userId="e97c6705-55e6-4901-8a33-cac116ea148a" providerId="ADAL" clId="{EE89E251-3232-47F3-908A-E28A4533BC36}" dt="2021-05-07T12:42:11.906" v="1006" actId="1076"/>
      <pc:docMkLst>
        <pc:docMk/>
      </pc:docMkLst>
      <pc:sldChg chg="modSp mod">
        <pc:chgData name="Braun, Pascal" userId="e97c6705-55e6-4901-8a33-cac116ea148a" providerId="ADAL" clId="{EE89E251-3232-47F3-908A-E28A4533BC36}" dt="2021-05-07T12:38:13.258" v="930" actId="14100"/>
        <pc:sldMkLst>
          <pc:docMk/>
          <pc:sldMk cId="345229976" sldId="6682"/>
        </pc:sldMkLst>
        <pc:spChg chg="mod">
          <ac:chgData name="Braun, Pascal" userId="e97c6705-55e6-4901-8a33-cac116ea148a" providerId="ADAL" clId="{EE89E251-3232-47F3-908A-E28A4533BC36}" dt="2021-05-07T12:38:13.258" v="930" actId="14100"/>
          <ac:spMkLst>
            <pc:docMk/>
            <pc:sldMk cId="345229976" sldId="6682"/>
            <ac:spMk id="9" creationId="{00000000-0000-0000-0000-000000000000}"/>
          </ac:spMkLst>
        </pc:spChg>
      </pc:sldChg>
      <pc:sldChg chg="addSp modSp mod">
        <pc:chgData name="Braun, Pascal" userId="e97c6705-55e6-4901-8a33-cac116ea148a" providerId="ADAL" clId="{EE89E251-3232-47F3-908A-E28A4533BC36}" dt="2021-05-07T12:42:11.906" v="1006" actId="1076"/>
        <pc:sldMkLst>
          <pc:docMk/>
          <pc:sldMk cId="2068183881" sldId="6684"/>
        </pc:sldMkLst>
        <pc:spChg chg="add mod">
          <ac:chgData name="Braun, Pascal" userId="e97c6705-55e6-4901-8a33-cac116ea148a" providerId="ADAL" clId="{EE89E251-3232-47F3-908A-E28A4533BC36}" dt="2021-05-07T12:42:11.906" v="1006" actId="1076"/>
          <ac:spMkLst>
            <pc:docMk/>
            <pc:sldMk cId="2068183881" sldId="6684"/>
            <ac:spMk id="6" creationId="{C0921CC3-942C-41D1-AF22-491FDC044702}"/>
          </ac:spMkLst>
        </pc:spChg>
        <pc:spChg chg="mod">
          <ac:chgData name="Braun, Pascal" userId="e97c6705-55e6-4901-8a33-cac116ea148a" providerId="ADAL" clId="{EE89E251-3232-47F3-908A-E28A4533BC36}" dt="2021-05-06T07:59:56.470" v="827" actId="113"/>
          <ac:spMkLst>
            <pc:docMk/>
            <pc:sldMk cId="2068183881" sldId="6684"/>
            <ac:spMk id="10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8:28:19.330" v="888" actId="14100"/>
          <ac:spMkLst>
            <pc:docMk/>
            <pc:sldMk cId="2068183881" sldId="6684"/>
            <ac:spMk id="11" creationId="{00000000-0000-0000-0000-000000000000}"/>
          </ac:spMkLst>
        </pc:spChg>
      </pc:sldChg>
      <pc:sldChg chg="modSp mod">
        <pc:chgData name="Braun, Pascal" userId="e97c6705-55e6-4901-8a33-cac116ea148a" providerId="ADAL" clId="{EE89E251-3232-47F3-908A-E28A4533BC36}" dt="2021-05-06T08:26:59.059" v="851" actId="20577"/>
        <pc:sldMkLst>
          <pc:docMk/>
          <pc:sldMk cId="1495548566" sldId="6688"/>
        </pc:sldMkLst>
        <pc:spChg chg="mod">
          <ac:chgData name="Braun, Pascal" userId="e97c6705-55e6-4901-8a33-cac116ea148a" providerId="ADAL" clId="{EE89E251-3232-47F3-908A-E28A4533BC36}" dt="2021-05-06T08:26:59.059" v="851" actId="20577"/>
          <ac:spMkLst>
            <pc:docMk/>
            <pc:sldMk cId="1495548566" sldId="6688"/>
            <ac:spMk id="14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6:25.881" v="754" actId="20577"/>
          <ac:spMkLst>
            <pc:docMk/>
            <pc:sldMk cId="1495548566" sldId="6688"/>
            <ac:spMk id="25" creationId="{00000000-0000-0000-0000-000000000000}"/>
          </ac:spMkLst>
        </pc:spChg>
      </pc:sldChg>
      <pc:sldChg chg="addSp delSp modSp mod">
        <pc:chgData name="Braun, Pascal" userId="e97c6705-55e6-4901-8a33-cac116ea148a" providerId="ADAL" clId="{EE89E251-3232-47F3-908A-E28A4533BC36}" dt="2021-05-06T08:27:19.098" v="858" actId="20577"/>
        <pc:sldMkLst>
          <pc:docMk/>
          <pc:sldMk cId="550908084" sldId="6691"/>
        </pc:sldMkLst>
        <pc:spChg chg="mod">
          <ac:chgData name="Braun, Pascal" userId="e97c6705-55e6-4901-8a33-cac116ea148a" providerId="ADAL" clId="{EE89E251-3232-47F3-908A-E28A4533BC36}" dt="2021-05-04T07:42:06.857" v="461" actId="14100"/>
          <ac:spMkLst>
            <pc:docMk/>
            <pc:sldMk cId="550908084" sldId="6691"/>
            <ac:spMk id="7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8:27:19.098" v="858" actId="20577"/>
          <ac:spMkLst>
            <pc:docMk/>
            <pc:sldMk cId="550908084" sldId="6691"/>
            <ac:spMk id="8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6:58.777" v="757" actId="113"/>
          <ac:spMkLst>
            <pc:docMk/>
            <pc:sldMk cId="550908084" sldId="6691"/>
            <ac:spMk id="10" creationId="{00000000-0000-0000-0000-000000000000}"/>
          </ac:spMkLst>
        </pc:spChg>
        <pc:spChg chg="add del mod">
          <ac:chgData name="Braun, Pascal" userId="e97c6705-55e6-4901-8a33-cac116ea148a" providerId="ADAL" clId="{EE89E251-3232-47F3-908A-E28A4533BC36}" dt="2021-05-04T06:58:13.246" v="240" actId="21"/>
          <ac:spMkLst>
            <pc:docMk/>
            <pc:sldMk cId="550908084" sldId="6691"/>
            <ac:spMk id="11" creationId="{54CB113B-9003-463D-AD03-FBD727A838F8}"/>
          </ac:spMkLst>
        </pc:spChg>
      </pc:sldChg>
      <pc:sldChg chg="modSp mod">
        <pc:chgData name="Braun, Pascal" userId="e97c6705-55e6-4901-8a33-cac116ea148a" providerId="ADAL" clId="{EE89E251-3232-47F3-908A-E28A4533BC36}" dt="2021-05-06T07:55:11.403" v="746" actId="1076"/>
        <pc:sldMkLst>
          <pc:docMk/>
          <pc:sldMk cId="483041808" sldId="6692"/>
        </pc:sldMkLst>
        <pc:spChg chg="mod">
          <ac:chgData name="Braun, Pascal" userId="e97c6705-55e6-4901-8a33-cac116ea148a" providerId="ADAL" clId="{EE89E251-3232-47F3-908A-E28A4533BC36}" dt="2021-05-06T07:54:48.773" v="727" actId="113"/>
          <ac:spMkLst>
            <pc:docMk/>
            <pc:sldMk cId="483041808" sldId="6692"/>
            <ac:spMk id="13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4:19.747" v="677" actId="113"/>
          <ac:spMkLst>
            <pc:docMk/>
            <pc:sldMk cId="483041808" sldId="6692"/>
            <ac:spMk id="14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3T17:01:43.268" v="193" actId="14100"/>
          <ac:spMkLst>
            <pc:docMk/>
            <pc:sldMk cId="483041808" sldId="6692"/>
            <ac:spMk id="23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5:11.403" v="746" actId="1076"/>
          <ac:spMkLst>
            <pc:docMk/>
            <pc:sldMk cId="483041808" sldId="6692"/>
            <ac:spMk id="24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4:56.039" v="745" actId="1038"/>
          <ac:spMkLst>
            <pc:docMk/>
            <pc:sldMk cId="483041808" sldId="6692"/>
            <ac:spMk id="25" creationId="{00000000-0000-0000-0000-000000000000}"/>
          </ac:spMkLst>
        </pc:spChg>
      </pc:sldChg>
      <pc:sldChg chg="addSp delSp modSp mod">
        <pc:chgData name="Braun, Pascal" userId="e97c6705-55e6-4901-8a33-cac116ea148a" providerId="ADAL" clId="{EE89E251-3232-47F3-908A-E28A4533BC36}" dt="2021-05-07T12:39:28.519" v="945" actId="20577"/>
        <pc:sldMkLst>
          <pc:docMk/>
          <pc:sldMk cId="395180946" sldId="6693"/>
        </pc:sldMkLst>
        <pc:spChg chg="mod">
          <ac:chgData name="Braun, Pascal" userId="e97c6705-55e6-4901-8a33-cac116ea148a" providerId="ADAL" clId="{EE89E251-3232-47F3-908A-E28A4533BC36}" dt="2021-05-04T06:55:48.264" v="198" actId="552"/>
          <ac:spMkLst>
            <pc:docMk/>
            <pc:sldMk cId="395180946" sldId="6693"/>
            <ac:spMk id="6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7T12:39:28.519" v="945" actId="20577"/>
          <ac:spMkLst>
            <pc:docMk/>
            <pc:sldMk cId="395180946" sldId="6693"/>
            <ac:spMk id="7" creationId="{00000000-0000-0000-0000-000000000000}"/>
          </ac:spMkLst>
        </pc:spChg>
        <pc:spChg chg="add mod">
          <ac:chgData name="Braun, Pascal" userId="e97c6705-55e6-4901-8a33-cac116ea148a" providerId="ADAL" clId="{EE89E251-3232-47F3-908A-E28A4533BC36}" dt="2021-05-04T06:55:58.724" v="210" actId="1036"/>
          <ac:spMkLst>
            <pc:docMk/>
            <pc:sldMk cId="395180946" sldId="6693"/>
            <ac:spMk id="13" creationId="{0AC96552-A568-429A-A443-8599C91B51B5}"/>
          </ac:spMkLst>
        </pc:spChg>
        <pc:spChg chg="add del mod">
          <ac:chgData name="Braun, Pascal" userId="e97c6705-55e6-4901-8a33-cac116ea148a" providerId="ADAL" clId="{EE89E251-3232-47F3-908A-E28A4533BC36}" dt="2021-05-04T06:56:05.348" v="212" actId="21"/>
          <ac:spMkLst>
            <pc:docMk/>
            <pc:sldMk cId="395180946" sldId="6693"/>
            <ac:spMk id="14" creationId="{614FEDAF-1523-4F81-AE14-A8ACB525E68A}"/>
          </ac:spMkLst>
        </pc:spChg>
        <pc:spChg chg="add del mod">
          <ac:chgData name="Braun, Pascal" userId="e97c6705-55e6-4901-8a33-cac116ea148a" providerId="ADAL" clId="{EE89E251-3232-47F3-908A-E28A4533BC36}" dt="2021-05-04T06:56:10.572" v="214" actId="21"/>
          <ac:spMkLst>
            <pc:docMk/>
            <pc:sldMk cId="395180946" sldId="6693"/>
            <ac:spMk id="16" creationId="{F77C1194-AB26-4A73-8599-57770ECD0A7E}"/>
          </ac:spMkLst>
        </pc:spChg>
        <pc:spChg chg="add mod">
          <ac:chgData name="Braun, Pascal" userId="e97c6705-55e6-4901-8a33-cac116ea148a" providerId="ADAL" clId="{EE89E251-3232-47F3-908A-E28A4533BC36}" dt="2021-05-04T06:56:24.214" v="219" actId="20577"/>
          <ac:spMkLst>
            <pc:docMk/>
            <pc:sldMk cId="395180946" sldId="6693"/>
            <ac:spMk id="17" creationId="{412A4AD0-5DBF-4C71-8815-A92482A2BC45}"/>
          </ac:spMkLst>
        </pc:spChg>
        <pc:spChg chg="add mod">
          <ac:chgData name="Braun, Pascal" userId="e97c6705-55e6-4901-8a33-cac116ea148a" providerId="ADAL" clId="{EE89E251-3232-47F3-908A-E28A4533BC36}" dt="2021-05-04T06:56:42.130" v="228" actId="20577"/>
          <ac:spMkLst>
            <pc:docMk/>
            <pc:sldMk cId="395180946" sldId="6693"/>
            <ac:spMk id="18" creationId="{5E48E440-7201-4500-B2E1-7B952C724F48}"/>
          </ac:spMkLst>
        </pc:spChg>
        <pc:spChg chg="mod">
          <ac:chgData name="Braun, Pascal" userId="e97c6705-55e6-4901-8a33-cac116ea148a" providerId="ADAL" clId="{EE89E251-3232-47F3-908A-E28A4533BC36}" dt="2021-05-04T06:55:48.264" v="198" actId="552"/>
          <ac:spMkLst>
            <pc:docMk/>
            <pc:sldMk cId="395180946" sldId="6693"/>
            <ac:spMk id="19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4T06:56:21.119" v="217" actId="552"/>
          <ac:spMkLst>
            <pc:docMk/>
            <pc:sldMk cId="395180946" sldId="6693"/>
            <ac:spMk id="20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4T06:56:26.966" v="221" actId="20577"/>
          <ac:spMkLst>
            <pc:docMk/>
            <pc:sldMk cId="395180946" sldId="6693"/>
            <ac:spMk id="21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4T06:56:39.685" v="226" actId="552"/>
          <ac:spMkLst>
            <pc:docMk/>
            <pc:sldMk cId="395180946" sldId="6693"/>
            <ac:spMk id="22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4T06:56:39.685" v="226" actId="552"/>
          <ac:spMkLst>
            <pc:docMk/>
            <pc:sldMk cId="395180946" sldId="6693"/>
            <ac:spMk id="23" creationId="{00000000-0000-0000-0000-000000000000}"/>
          </ac:spMkLst>
        </pc:spChg>
      </pc:sldChg>
      <pc:sldChg chg="modSp mod">
        <pc:chgData name="Braun, Pascal" userId="e97c6705-55e6-4901-8a33-cac116ea148a" providerId="ADAL" clId="{EE89E251-3232-47F3-908A-E28A4533BC36}" dt="2021-05-06T07:52:37.155" v="549" actId="1036"/>
        <pc:sldMkLst>
          <pc:docMk/>
          <pc:sldMk cId="3466660011" sldId="6698"/>
        </pc:sldMkLst>
        <pc:spChg chg="mod">
          <ac:chgData name="Braun, Pascal" userId="e97c6705-55e6-4901-8a33-cac116ea148a" providerId="ADAL" clId="{EE89E251-3232-47F3-908A-E28A4533BC36}" dt="2021-05-06T07:52:11.509" v="516" actId="20577"/>
          <ac:spMkLst>
            <pc:docMk/>
            <pc:sldMk cId="3466660011" sldId="6698"/>
            <ac:spMk id="2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4T06:54:57.779" v="195" actId="14100"/>
          <ac:spMkLst>
            <pc:docMk/>
            <pc:sldMk cId="3466660011" sldId="6698"/>
            <ac:spMk id="6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2:30.624" v="536" actId="20577"/>
          <ac:spMkLst>
            <pc:docMk/>
            <pc:sldMk cId="3466660011" sldId="6698"/>
            <ac:spMk id="7" creationId="{00000000-0000-0000-0000-000000000000}"/>
          </ac:spMkLst>
        </pc:spChg>
        <pc:picChg chg="mod">
          <ac:chgData name="Braun, Pascal" userId="e97c6705-55e6-4901-8a33-cac116ea148a" providerId="ADAL" clId="{EE89E251-3232-47F3-908A-E28A4533BC36}" dt="2021-05-06T07:52:37.155" v="549" actId="1036"/>
          <ac:picMkLst>
            <pc:docMk/>
            <pc:sldMk cId="3466660011" sldId="6698"/>
            <ac:picMk id="14" creationId="{00000000-0000-0000-0000-000000000000}"/>
          </ac:picMkLst>
        </pc:picChg>
      </pc:sldChg>
      <pc:sldChg chg="delSp modSp mod">
        <pc:chgData name="Braun, Pascal" userId="e97c6705-55e6-4901-8a33-cac116ea148a" providerId="ADAL" clId="{EE89E251-3232-47F3-908A-E28A4533BC36}" dt="2021-05-06T08:26:16.335" v="848" actId="21"/>
        <pc:sldMkLst>
          <pc:docMk/>
          <pc:sldMk cId="1692166078" sldId="6699"/>
        </pc:sldMkLst>
        <pc:spChg chg="del">
          <ac:chgData name="Braun, Pascal" userId="e97c6705-55e6-4901-8a33-cac116ea148a" providerId="ADAL" clId="{EE89E251-3232-47F3-908A-E28A4533BC36}" dt="2021-05-04T06:54:53.015" v="194" actId="21"/>
          <ac:spMkLst>
            <pc:docMk/>
            <pc:sldMk cId="1692166078" sldId="6699"/>
            <ac:spMk id="11" creationId="{00000000-0000-0000-0000-000000000000}"/>
          </ac:spMkLst>
        </pc:spChg>
        <pc:spChg chg="del mod">
          <ac:chgData name="Braun, Pascal" userId="e97c6705-55e6-4901-8a33-cac116ea148a" providerId="ADAL" clId="{EE89E251-3232-47F3-908A-E28A4533BC36}" dt="2021-05-06T08:26:16.335" v="848" actId="21"/>
          <ac:spMkLst>
            <pc:docMk/>
            <pc:sldMk cId="1692166078" sldId="6699"/>
            <ac:spMk id="17" creationId="{00000000-0000-0000-0000-000000000000}"/>
          </ac:spMkLst>
        </pc:spChg>
      </pc:sldChg>
      <pc:sldChg chg="delSp modSp mod">
        <pc:chgData name="Braun, Pascal" userId="e97c6705-55e6-4901-8a33-cac116ea148a" providerId="ADAL" clId="{EE89E251-3232-47F3-908A-E28A4533BC36}" dt="2021-05-06T08:28:42.223" v="891" actId="14100"/>
        <pc:sldMkLst>
          <pc:docMk/>
          <pc:sldMk cId="74493107" sldId="6701"/>
        </pc:sldMkLst>
        <pc:spChg chg="mod">
          <ac:chgData name="Braun, Pascal" userId="e97c6705-55e6-4901-8a33-cac116ea148a" providerId="ADAL" clId="{EE89E251-3232-47F3-908A-E28A4533BC36}" dt="2021-05-06T08:28:42.223" v="891" actId="14100"/>
          <ac:spMkLst>
            <pc:docMk/>
            <pc:sldMk cId="74493107" sldId="6701"/>
            <ac:spMk id="14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10.754" v="804" actId="165"/>
          <ac:spMkLst>
            <pc:docMk/>
            <pc:sldMk cId="74493107" sldId="6701"/>
            <ac:spMk id="19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10.754" v="804" actId="165"/>
          <ac:spMkLst>
            <pc:docMk/>
            <pc:sldMk cId="74493107" sldId="6701"/>
            <ac:spMk id="20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10.754" v="804" actId="165"/>
          <ac:spMkLst>
            <pc:docMk/>
            <pc:sldMk cId="74493107" sldId="6701"/>
            <ac:spMk id="21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27.459" v="820" actId="1037"/>
          <ac:spMkLst>
            <pc:docMk/>
            <pc:sldMk cId="74493107" sldId="6701"/>
            <ac:spMk id="22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27.459" v="820" actId="1037"/>
          <ac:spMkLst>
            <pc:docMk/>
            <pc:sldMk cId="74493107" sldId="6701"/>
            <ac:spMk id="23" creationId="{00000000-0000-0000-0000-000000000000}"/>
          </ac:spMkLst>
        </pc:spChg>
        <pc:spChg chg="mod topLvl">
          <ac:chgData name="Braun, Pascal" userId="e97c6705-55e6-4901-8a33-cac116ea148a" providerId="ADAL" clId="{EE89E251-3232-47F3-908A-E28A4533BC36}" dt="2021-05-06T07:58:27.459" v="820" actId="1037"/>
          <ac:spMkLst>
            <pc:docMk/>
            <pc:sldMk cId="74493107" sldId="6701"/>
            <ac:spMk id="24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7:49.253" v="802" actId="20577"/>
          <ac:spMkLst>
            <pc:docMk/>
            <pc:sldMk cId="74493107" sldId="6701"/>
            <ac:spMk id="25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7:57.926" v="803" actId="552"/>
          <ac:spMkLst>
            <pc:docMk/>
            <pc:sldMk cId="74493107" sldId="6701"/>
            <ac:spMk id="30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7:57.926" v="803" actId="552"/>
          <ac:spMkLst>
            <pc:docMk/>
            <pc:sldMk cId="74493107" sldId="6701"/>
            <ac:spMk id="31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7:57.926" v="803" actId="552"/>
          <ac:spMkLst>
            <pc:docMk/>
            <pc:sldMk cId="74493107" sldId="6701"/>
            <ac:spMk id="32" creationId="{00000000-0000-0000-0000-000000000000}"/>
          </ac:spMkLst>
        </pc:spChg>
        <pc:grpChg chg="del">
          <ac:chgData name="Braun, Pascal" userId="e97c6705-55e6-4901-8a33-cac116ea148a" providerId="ADAL" clId="{EE89E251-3232-47F3-908A-E28A4533BC36}" dt="2021-05-06T07:58:10.754" v="804" actId="165"/>
          <ac:grpSpMkLst>
            <pc:docMk/>
            <pc:sldMk cId="74493107" sldId="6701"/>
            <ac:grpSpMk id="9" creationId="{00000000-0000-0000-0000-000000000000}"/>
          </ac:grpSpMkLst>
        </pc:grpChg>
        <pc:picChg chg="mod topLvl">
          <ac:chgData name="Braun, Pascal" userId="e97c6705-55e6-4901-8a33-cac116ea148a" providerId="ADAL" clId="{EE89E251-3232-47F3-908A-E28A4533BC36}" dt="2021-05-06T07:58:10.754" v="804" actId="165"/>
          <ac:picMkLst>
            <pc:docMk/>
            <pc:sldMk cId="74493107" sldId="6701"/>
            <ac:picMk id="8" creationId="{00000000-0000-0000-0000-000000000000}"/>
          </ac:picMkLst>
        </pc:picChg>
      </pc:sldChg>
      <pc:sldChg chg="delSp modSp mod">
        <pc:chgData name="Braun, Pascal" userId="e97c6705-55e6-4901-8a33-cac116ea148a" providerId="ADAL" clId="{EE89E251-3232-47F3-908A-E28A4533BC36}" dt="2021-05-06T08:27:37.034" v="859" actId="21"/>
        <pc:sldMkLst>
          <pc:docMk/>
          <pc:sldMk cId="3034480701" sldId="6703"/>
        </pc:sldMkLst>
        <pc:spChg chg="del mod">
          <ac:chgData name="Braun, Pascal" userId="e97c6705-55e6-4901-8a33-cac116ea148a" providerId="ADAL" clId="{EE89E251-3232-47F3-908A-E28A4533BC36}" dt="2021-05-06T08:27:37.034" v="859" actId="21"/>
          <ac:spMkLst>
            <pc:docMk/>
            <pc:sldMk cId="3034480701" sldId="6703"/>
            <ac:spMk id="14" creationId="{00000000-0000-0000-0000-000000000000}"/>
          </ac:spMkLst>
        </pc:spChg>
        <pc:spChg chg="mod">
          <ac:chgData name="Braun, Pascal" userId="e97c6705-55e6-4901-8a33-cac116ea148a" providerId="ADAL" clId="{EE89E251-3232-47F3-908A-E28A4533BC36}" dt="2021-05-06T07:59:05.332" v="826" actId="113"/>
          <ac:spMkLst>
            <pc:docMk/>
            <pc:sldMk cId="3034480701" sldId="6703"/>
            <ac:spMk id="40" creationId="{00000000-0000-0000-0000-000000000000}"/>
          </ac:spMkLst>
        </pc:spChg>
      </pc:sldChg>
    </pc:docChg>
  </pc:docChgLst>
  <pc:docChgLst>
    <pc:chgData name="TESCAT Ophelie" userId="S::ophelie.tescat_soprasterianext.com#ext#@be4you.onmicrosoft.com::7b9d2a5f-995c-4b27-ae94-c47be7890bfd" providerId="AD" clId="Web-{B7824F3A-F541-44DE-A8AE-21074C9EB43D}"/>
    <pc:docChg chg="modSld">
      <pc:chgData name="TESCAT Ophelie" userId="S::ophelie.tescat_soprasterianext.com#ext#@be4you.onmicrosoft.com::7b9d2a5f-995c-4b27-ae94-c47be7890bfd" providerId="AD" clId="Web-{B7824F3A-F541-44DE-A8AE-21074C9EB43D}" dt="2021-05-20T12:58:02.515" v="5" actId="1076"/>
      <pc:docMkLst>
        <pc:docMk/>
      </pc:docMkLst>
      <pc:sldChg chg="modSp">
        <pc:chgData name="TESCAT Ophelie" userId="S::ophelie.tescat_soprasterianext.com#ext#@be4you.onmicrosoft.com::7b9d2a5f-995c-4b27-ae94-c47be7890bfd" providerId="AD" clId="Web-{B7824F3A-F541-44DE-A8AE-21074C9EB43D}" dt="2021-05-20T12:58:02.515" v="5" actId="1076"/>
        <pc:sldMkLst>
          <pc:docMk/>
          <pc:sldMk cId="616927707" sldId="6705"/>
        </pc:sldMkLst>
        <pc:spChg chg="mod">
          <ac:chgData name="TESCAT Ophelie" userId="S::ophelie.tescat_soprasterianext.com#ext#@be4you.onmicrosoft.com::7b9d2a5f-995c-4b27-ae94-c47be7890bfd" providerId="AD" clId="Web-{B7824F3A-F541-44DE-A8AE-21074C9EB43D}" dt="2021-05-20T12:58:02.515" v="5" actId="1076"/>
          <ac:spMkLst>
            <pc:docMk/>
            <pc:sldMk cId="616927707" sldId="6705"/>
            <ac:spMk id="31" creationId="{00000000-0000-0000-0000-000000000000}"/>
          </ac:spMkLst>
        </pc:spChg>
        <pc:spChg chg="mod">
          <ac:chgData name="TESCAT Ophelie" userId="S::ophelie.tescat_soprasterianext.com#ext#@be4you.onmicrosoft.com::7b9d2a5f-995c-4b27-ae94-c47be7890bfd" providerId="AD" clId="Web-{B7824F3A-F541-44DE-A8AE-21074C9EB43D}" dt="2021-05-20T12:57:21.217" v="1" actId="1076"/>
          <ac:spMkLst>
            <pc:docMk/>
            <pc:sldMk cId="616927707" sldId="6705"/>
            <ac:spMk id="32" creationId="{00000000-0000-0000-0000-000000000000}"/>
          </ac:spMkLst>
        </pc:spChg>
        <pc:spChg chg="mod">
          <ac:chgData name="TESCAT Ophelie" userId="S::ophelie.tescat_soprasterianext.com#ext#@be4you.onmicrosoft.com::7b9d2a5f-995c-4b27-ae94-c47be7890bfd" providerId="AD" clId="Web-{B7824F3A-F541-44DE-A8AE-21074C9EB43D}" dt="2021-05-20T12:57:55.281" v="4" actId="1076"/>
          <ac:spMkLst>
            <pc:docMk/>
            <pc:sldMk cId="616927707" sldId="6705"/>
            <ac:spMk id="43" creationId="{00000000-0000-0000-0000-000000000000}"/>
          </ac:spMkLst>
        </pc:spChg>
        <pc:spChg chg="mod">
          <ac:chgData name="TESCAT Ophelie" userId="S::ophelie.tescat_soprasterianext.com#ext#@be4you.onmicrosoft.com::7b9d2a5f-995c-4b27-ae94-c47be7890bfd" providerId="AD" clId="Web-{B7824F3A-F541-44DE-A8AE-21074C9EB43D}" dt="2021-05-20T12:57:15.452" v="0" actId="1076"/>
          <ac:spMkLst>
            <pc:docMk/>
            <pc:sldMk cId="616927707" sldId="6705"/>
            <ac:spMk id="45" creationId="{00000000-0000-0000-0000-000000000000}"/>
          </ac:spMkLst>
        </pc:spChg>
      </pc:sldChg>
    </pc:docChg>
  </pc:docChgLst>
  <pc:docChgLst>
    <pc:chgData name="TESCAT Ophelie" userId="S::ophelie.tescat_soprasterianext.com#ext#@be4you.onmicrosoft.com::7b9d2a5f-995c-4b27-ae94-c47be7890bfd" providerId="AD" clId="Web-{DF86F119-BED9-4E0C-ADAF-862909B95B9B}"/>
    <pc:docChg chg="modSld">
      <pc:chgData name="TESCAT Ophelie" userId="S::ophelie.tescat_soprasterianext.com#ext#@be4you.onmicrosoft.com::7b9d2a5f-995c-4b27-ae94-c47be7890bfd" providerId="AD" clId="Web-{DF86F119-BED9-4E0C-ADAF-862909B95B9B}" dt="2021-04-08T08:00:25.140" v="5" actId="20577"/>
      <pc:docMkLst>
        <pc:docMk/>
      </pc:docMkLst>
      <pc:sldChg chg="modSp">
        <pc:chgData name="TESCAT Ophelie" userId="S::ophelie.tescat_soprasterianext.com#ext#@be4you.onmicrosoft.com::7b9d2a5f-995c-4b27-ae94-c47be7890bfd" providerId="AD" clId="Web-{DF86F119-BED9-4E0C-ADAF-862909B95B9B}" dt="2021-04-08T08:00:25.140" v="5" actId="20577"/>
        <pc:sldMkLst>
          <pc:docMk/>
          <pc:sldMk cId="2320955818" sldId="6679"/>
        </pc:sldMkLst>
        <pc:spChg chg="mod">
          <ac:chgData name="TESCAT Ophelie" userId="S::ophelie.tescat_soprasterianext.com#ext#@be4you.onmicrosoft.com::7b9d2a5f-995c-4b27-ae94-c47be7890bfd" providerId="AD" clId="Web-{DF86F119-BED9-4E0C-ADAF-862909B95B9B}" dt="2021-04-08T08:00:25.140" v="5" actId="20577"/>
          <ac:spMkLst>
            <pc:docMk/>
            <pc:sldMk cId="2320955818" sldId="6679"/>
            <ac:spMk id="185" creationId="{3009A737-AB89-4E66-B94A-9E35454C7AA4}"/>
          </ac:spMkLst>
        </pc:spChg>
      </pc:sldChg>
    </pc:docChg>
  </pc:docChgLst>
  <pc:docChgLst>
    <pc:chgData name="Braun, Pascal" userId="e97c6705-55e6-4901-8a33-cac116ea148a" providerId="ADAL" clId="{314184FA-5CD8-4002-A2E7-1C3EB0F57462}"/>
    <pc:docChg chg="undo custSel modSld modMainMaster">
      <pc:chgData name="Braun, Pascal" userId="e97c6705-55e6-4901-8a33-cac116ea148a" providerId="ADAL" clId="{314184FA-5CD8-4002-A2E7-1C3EB0F57462}" dt="2021-05-25T06:39:29.018" v="1304" actId="207"/>
      <pc:docMkLst>
        <pc:docMk/>
      </pc:docMkLst>
      <pc:sldChg chg="modSp mod">
        <pc:chgData name="Braun, Pascal" userId="e97c6705-55e6-4901-8a33-cac116ea148a" providerId="ADAL" clId="{314184FA-5CD8-4002-A2E7-1C3EB0F57462}" dt="2021-05-25T06:39:29.018" v="1304" actId="207"/>
        <pc:sldMkLst>
          <pc:docMk/>
          <pc:sldMk cId="345229976" sldId="6682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45229976" sldId="6682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5T06:39:29.018" v="1304" actId="207"/>
          <ac:spMkLst>
            <pc:docMk/>
            <pc:sldMk cId="345229976" sldId="6682"/>
            <ac:spMk id="13" creationId="{00000000-0000-0000-0000-000000000000}"/>
          </ac:spMkLst>
        </pc:spChg>
      </pc:sldChg>
      <pc:sldChg chg="delSp modSp mod">
        <pc:chgData name="Braun, Pascal" userId="e97c6705-55e6-4901-8a33-cac116ea148a" providerId="ADAL" clId="{314184FA-5CD8-4002-A2E7-1C3EB0F57462}" dt="2021-05-18T13:59:51.763" v="661" actId="21"/>
        <pc:sldMkLst>
          <pc:docMk/>
          <pc:sldMk cId="2068183881" sldId="6684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2068183881" sldId="6684"/>
            <ac:spMk id="4" creationId="{00000000-0000-0000-0000-000000000000}"/>
          </ac:spMkLst>
        </pc:spChg>
        <pc:spChg chg="del mod">
          <ac:chgData name="Braun, Pascal" userId="e97c6705-55e6-4901-8a33-cac116ea148a" providerId="ADAL" clId="{314184FA-5CD8-4002-A2E7-1C3EB0F57462}" dt="2021-05-18T13:59:51.763" v="661" actId="21"/>
          <ac:spMkLst>
            <pc:docMk/>
            <pc:sldMk cId="2068183881" sldId="6684"/>
            <ac:spMk id="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7:13.604" v="499" actId="20577"/>
          <ac:spMkLst>
            <pc:docMk/>
            <pc:sldMk cId="2068183881" sldId="6684"/>
            <ac:spMk id="10" creationId="{00000000-0000-0000-0000-000000000000}"/>
          </ac:spMkLst>
        </pc:spChg>
      </pc:sldChg>
      <pc:sldChg chg="modSp mod">
        <pc:chgData name="Braun, Pascal" userId="e97c6705-55e6-4901-8a33-cac116ea148a" providerId="ADAL" clId="{314184FA-5CD8-4002-A2E7-1C3EB0F57462}" dt="2021-05-18T14:03:29.639" v="662" actId="1076"/>
        <pc:sldMkLst>
          <pc:docMk/>
          <pc:sldMk cId="3463086187" sldId="6685"/>
        </pc:sldMkLst>
        <pc:spChg chg="mod">
          <ac:chgData name="Braun, Pascal" userId="e97c6705-55e6-4901-8a33-cac116ea148a" providerId="ADAL" clId="{314184FA-5CD8-4002-A2E7-1C3EB0F57462}" dt="2021-05-18T14:03:29.639" v="662" actId="1076"/>
          <ac:spMkLst>
            <pc:docMk/>
            <pc:sldMk cId="3463086187" sldId="6685"/>
            <ac:spMk id="6" creationId="{F1111623-7F8E-4BC8-901E-DEF733538A1A}"/>
          </ac:spMkLst>
        </pc:spChg>
        <pc:spChg chg="mod">
          <ac:chgData name="Braun, Pascal" userId="e97c6705-55e6-4901-8a33-cac116ea148a" providerId="ADAL" clId="{314184FA-5CD8-4002-A2E7-1C3EB0F57462}" dt="2021-05-18T10:42:21.121" v="544" actId="113"/>
          <ac:spMkLst>
            <pc:docMk/>
            <pc:sldMk cId="3463086187" sldId="6685"/>
            <ac:spMk id="11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463086187" sldId="6685"/>
            <ac:spMk id="21" creationId="{00000000-0000-0000-0000-000000000000}"/>
          </ac:spMkLst>
        </pc:spChg>
      </pc:sldChg>
      <pc:sldChg chg="addSp delSp modSp mod">
        <pc:chgData name="Braun, Pascal" userId="e97c6705-55e6-4901-8a33-cac116ea148a" providerId="ADAL" clId="{314184FA-5CD8-4002-A2E7-1C3EB0F57462}" dt="2021-05-20T08:56:50.365" v="993" actId="20577"/>
        <pc:sldMkLst>
          <pc:docMk/>
          <pc:sldMk cId="1495548566" sldId="6688"/>
        </pc:sldMkLst>
        <pc:spChg chg="mod">
          <ac:chgData name="Braun, Pascal" userId="e97c6705-55e6-4901-8a33-cac116ea148a" providerId="ADAL" clId="{314184FA-5CD8-4002-A2E7-1C3EB0F57462}" dt="2021-05-18T10:22:22.652" v="175" actId="20577"/>
          <ac:spMkLst>
            <pc:docMk/>
            <pc:sldMk cId="1495548566" sldId="6688"/>
            <ac:spMk id="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1495548566" sldId="6688"/>
            <ac:spMk id="4" creationId="{00000000-0000-0000-0000-000000000000}"/>
          </ac:spMkLst>
        </pc:spChg>
        <pc:spChg chg="add mod">
          <ac:chgData name="Braun, Pascal" userId="e97c6705-55e6-4901-8a33-cac116ea148a" providerId="ADAL" clId="{314184FA-5CD8-4002-A2E7-1C3EB0F57462}" dt="2021-05-20T08:56:38.448" v="992" actId="1076"/>
          <ac:spMkLst>
            <pc:docMk/>
            <pc:sldMk cId="1495548566" sldId="6688"/>
            <ac:spMk id="6" creationId="{82187D23-3B48-4CB5-8998-DF24D8C7F29F}"/>
          </ac:spMkLst>
        </pc:spChg>
        <pc:spChg chg="mod topLvl">
          <ac:chgData name="Braun, Pascal" userId="e97c6705-55e6-4901-8a33-cac116ea148a" providerId="ADAL" clId="{314184FA-5CD8-4002-A2E7-1C3EB0F57462}" dt="2021-05-18T10:23:51.101" v="193" actId="165"/>
          <ac:spMkLst>
            <pc:docMk/>
            <pc:sldMk cId="1495548566" sldId="6688"/>
            <ac:spMk id="19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0T08:56:50.365" v="993" actId="20577"/>
          <ac:spMkLst>
            <pc:docMk/>
            <pc:sldMk cId="1495548566" sldId="6688"/>
            <ac:spMk id="24" creationId="{00000000-0000-0000-0000-000000000000}"/>
          </ac:spMkLst>
        </pc:spChg>
        <pc:spChg chg="add del mod">
          <ac:chgData name="Braun, Pascal" userId="e97c6705-55e6-4901-8a33-cac116ea148a" providerId="ADAL" clId="{314184FA-5CD8-4002-A2E7-1C3EB0F57462}" dt="2021-05-18T12:55:29.078" v="650" actId="21"/>
          <ac:spMkLst>
            <pc:docMk/>
            <pc:sldMk cId="1495548566" sldId="6688"/>
            <ac:spMk id="25" creationId="{5551DC65-27A6-49B1-ABA0-49ACD466A616}"/>
          </ac:spMkLst>
        </pc:spChg>
        <pc:spChg chg="mod topLvl">
          <ac:chgData name="Braun, Pascal" userId="e97c6705-55e6-4901-8a33-cac116ea148a" providerId="ADAL" clId="{314184FA-5CD8-4002-A2E7-1C3EB0F57462}" dt="2021-05-18T10:23:57.363" v="200" actId="1035"/>
          <ac:spMkLst>
            <pc:docMk/>
            <pc:sldMk cId="1495548566" sldId="6688"/>
            <ac:spMk id="2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4:49.821" v="203" actId="552"/>
          <ac:spMkLst>
            <pc:docMk/>
            <pc:sldMk cId="1495548566" sldId="6688"/>
            <ac:spMk id="40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4:49.821" v="203" actId="552"/>
          <ac:spMkLst>
            <pc:docMk/>
            <pc:sldMk cId="1495548566" sldId="6688"/>
            <ac:spMk id="41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4:49.821" v="203" actId="552"/>
          <ac:spMkLst>
            <pc:docMk/>
            <pc:sldMk cId="1495548566" sldId="6688"/>
            <ac:spMk id="4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4:49.821" v="203" actId="552"/>
          <ac:spMkLst>
            <pc:docMk/>
            <pc:sldMk cId="1495548566" sldId="6688"/>
            <ac:spMk id="48" creationId="{00000000-0000-0000-0000-000000000000}"/>
          </ac:spMkLst>
        </pc:spChg>
        <pc:grpChg chg="del">
          <ac:chgData name="Braun, Pascal" userId="e97c6705-55e6-4901-8a33-cac116ea148a" providerId="ADAL" clId="{314184FA-5CD8-4002-A2E7-1C3EB0F57462}" dt="2021-05-18T10:23:51.101" v="193" actId="165"/>
          <ac:grpSpMkLst>
            <pc:docMk/>
            <pc:sldMk cId="1495548566" sldId="6688"/>
            <ac:grpSpMk id="6" creationId="{00000000-0000-0000-0000-000000000000}"/>
          </ac:grpSpMkLst>
        </pc:grpChg>
        <pc:picChg chg="mod topLvl">
          <ac:chgData name="Braun, Pascal" userId="e97c6705-55e6-4901-8a33-cac116ea148a" providerId="ADAL" clId="{314184FA-5CD8-4002-A2E7-1C3EB0F57462}" dt="2021-05-18T10:23:51.101" v="193" actId="165"/>
          <ac:picMkLst>
            <pc:docMk/>
            <pc:sldMk cId="1495548566" sldId="6688"/>
            <ac:picMk id="7" creationId="{00000000-0000-0000-0000-000000000000}"/>
          </ac:picMkLst>
        </pc:picChg>
      </pc:sldChg>
      <pc:sldChg chg="modSp mod">
        <pc:chgData name="Braun, Pascal" userId="e97c6705-55e6-4901-8a33-cac116ea148a" providerId="ADAL" clId="{314184FA-5CD8-4002-A2E7-1C3EB0F57462}" dt="2021-05-18T10:36:09.364" v="484" actId="1035"/>
        <pc:sldMkLst>
          <pc:docMk/>
          <pc:sldMk cId="550908084" sldId="6691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550908084" sldId="6691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550908084" sldId="6691"/>
            <ac:spMk id="8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6:02.907" v="476" actId="20577"/>
          <ac:spMkLst>
            <pc:docMk/>
            <pc:sldMk cId="550908084" sldId="6691"/>
            <ac:spMk id="10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5:53.871" v="471" actId="1037"/>
          <ac:spMkLst>
            <pc:docMk/>
            <pc:sldMk cId="550908084" sldId="6691"/>
            <ac:spMk id="17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5:53.871" v="471" actId="1037"/>
          <ac:spMkLst>
            <pc:docMk/>
            <pc:sldMk cId="550908084" sldId="6691"/>
            <ac:spMk id="21" creationId="{00000000-0000-0000-0000-000000000000}"/>
          </ac:spMkLst>
        </pc:spChg>
        <pc:picChg chg="mod">
          <ac:chgData name="Braun, Pascal" userId="e97c6705-55e6-4901-8a33-cac116ea148a" providerId="ADAL" clId="{314184FA-5CD8-4002-A2E7-1C3EB0F57462}" dt="2021-05-18T10:36:09.364" v="484" actId="1035"/>
          <ac:picMkLst>
            <pc:docMk/>
            <pc:sldMk cId="550908084" sldId="6691"/>
            <ac:picMk id="19" creationId="{00000000-0000-0000-0000-000000000000}"/>
          </ac:picMkLst>
        </pc:picChg>
      </pc:sldChg>
      <pc:sldChg chg="modSp mod">
        <pc:chgData name="Braun, Pascal" userId="e97c6705-55e6-4901-8a33-cac116ea148a" providerId="ADAL" clId="{314184FA-5CD8-4002-A2E7-1C3EB0F57462}" dt="2021-05-18T10:26:14.314" v="261" actId="1037"/>
        <pc:sldMkLst>
          <pc:docMk/>
          <pc:sldMk cId="483041808" sldId="6692"/>
        </pc:sldMkLst>
        <pc:spChg chg="mod">
          <ac:chgData name="Braun, Pascal" userId="e97c6705-55e6-4901-8a33-cac116ea148a" providerId="ADAL" clId="{314184FA-5CD8-4002-A2E7-1C3EB0F57462}" dt="2021-05-18T10:20:29.631" v="169" actId="20577"/>
          <ac:spMkLst>
            <pc:docMk/>
            <pc:sldMk cId="483041808" sldId="6692"/>
            <ac:spMk id="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483041808" sldId="6692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483041808" sldId="6692"/>
            <ac:spMk id="13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0:51.977" v="170" actId="552"/>
          <ac:spMkLst>
            <pc:docMk/>
            <pc:sldMk cId="483041808" sldId="6692"/>
            <ac:spMk id="1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483041808" sldId="6692"/>
            <ac:spMk id="1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6:14.314" v="261" actId="1037"/>
          <ac:spMkLst>
            <pc:docMk/>
            <pc:sldMk cId="483041808" sldId="6692"/>
            <ac:spMk id="2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1:10.467" v="172" actId="1038"/>
          <ac:spMkLst>
            <pc:docMk/>
            <pc:sldMk cId="483041808" sldId="6692"/>
            <ac:spMk id="25" creationId="{00000000-0000-0000-0000-000000000000}"/>
          </ac:spMkLst>
        </pc:spChg>
      </pc:sldChg>
      <pc:sldChg chg="modSp mod">
        <pc:chgData name="Braun, Pascal" userId="e97c6705-55e6-4901-8a33-cac116ea148a" providerId="ADAL" clId="{314184FA-5CD8-4002-A2E7-1C3EB0F57462}" dt="2021-05-18T10:23:11.762" v="192" actId="1035"/>
        <pc:sldMkLst>
          <pc:docMk/>
          <pc:sldMk cId="395180946" sldId="6693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95180946" sldId="6693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56.668" v="180" actId="552"/>
          <ac:spMkLst>
            <pc:docMk/>
            <pc:sldMk cId="395180946" sldId="6693"/>
            <ac:spMk id="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56.668" v="180" actId="552"/>
          <ac:spMkLst>
            <pc:docMk/>
            <pc:sldMk cId="395180946" sldId="6693"/>
            <ac:spMk id="13" creationId="{0AC96552-A568-429A-A443-8599C91B51B5}"/>
          </ac:spMkLst>
        </pc:spChg>
        <pc:spChg chg="mod">
          <ac:chgData name="Braun, Pascal" userId="e97c6705-55e6-4901-8a33-cac116ea148a" providerId="ADAL" clId="{314184FA-5CD8-4002-A2E7-1C3EB0F57462}" dt="2021-05-18T10:22:51.826" v="179" actId="552"/>
          <ac:spMkLst>
            <pc:docMk/>
            <pc:sldMk cId="395180946" sldId="6693"/>
            <ac:spMk id="1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3:03.663" v="187" actId="1036"/>
          <ac:spMkLst>
            <pc:docMk/>
            <pc:sldMk cId="395180946" sldId="6693"/>
            <ac:spMk id="18" creationId="{5E48E440-7201-4500-B2E1-7B952C724F48}"/>
          </ac:spMkLst>
        </pc:spChg>
        <pc:spChg chg="mod">
          <ac:chgData name="Braun, Pascal" userId="e97c6705-55e6-4901-8a33-cac116ea148a" providerId="ADAL" clId="{314184FA-5CD8-4002-A2E7-1C3EB0F57462}" dt="2021-05-18T10:22:56.668" v="180" actId="552"/>
          <ac:spMkLst>
            <pc:docMk/>
            <pc:sldMk cId="395180946" sldId="6693"/>
            <ac:spMk id="19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3:11.762" v="192" actId="1035"/>
          <ac:spMkLst>
            <pc:docMk/>
            <pc:sldMk cId="395180946" sldId="6693"/>
            <ac:spMk id="2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3:06.543" v="190" actId="1036"/>
          <ac:spMkLst>
            <pc:docMk/>
            <pc:sldMk cId="395180946" sldId="6693"/>
            <ac:spMk id="23" creationId="{00000000-0000-0000-0000-000000000000}"/>
          </ac:spMkLst>
        </pc:spChg>
      </pc:sldChg>
      <pc:sldChg chg="modSp mod">
        <pc:chgData name="Braun, Pascal" userId="e97c6705-55e6-4901-8a33-cac116ea148a" providerId="ADAL" clId="{314184FA-5CD8-4002-A2E7-1C3EB0F57462}" dt="2021-05-18T12:35:23.395" v="648" actId="20577"/>
        <pc:sldMkLst>
          <pc:docMk/>
          <pc:sldMk cId="357860377" sldId="6694"/>
        </pc:sldMkLst>
        <pc:spChg chg="mod">
          <ac:chgData name="Braun, Pascal" userId="e97c6705-55e6-4901-8a33-cac116ea148a" providerId="ADAL" clId="{314184FA-5CD8-4002-A2E7-1C3EB0F57462}" dt="2021-05-18T12:35:23.395" v="648" actId="20577"/>
          <ac:spMkLst>
            <pc:docMk/>
            <pc:sldMk cId="357860377" sldId="6694"/>
            <ac:spMk id="4" creationId="{00000000-0000-0000-0000-000000000000}"/>
          </ac:spMkLst>
        </pc:spChg>
      </pc:sldChg>
      <pc:sldChg chg="modSp mod">
        <pc:chgData name="Braun, Pascal" userId="e97c6705-55e6-4901-8a33-cac116ea148a" providerId="ADAL" clId="{314184FA-5CD8-4002-A2E7-1C3EB0F57462}" dt="2021-05-18T10:27:00.679" v="292" actId="1036"/>
        <pc:sldMkLst>
          <pc:docMk/>
          <pc:sldMk cId="3466660011" sldId="6698"/>
        </pc:sldMkLst>
        <pc:spChg chg="mod">
          <ac:chgData name="Braun, Pascal" userId="e97c6705-55e6-4901-8a33-cac116ea148a" providerId="ADAL" clId="{314184FA-5CD8-4002-A2E7-1C3EB0F57462}" dt="2021-05-18T10:17:33.287" v="36" actId="313"/>
          <ac:spMkLst>
            <pc:docMk/>
            <pc:sldMk cId="3466660011" sldId="6698"/>
            <ac:spMk id="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466660011" sldId="6698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6:48.419" v="282" actId="20577"/>
          <ac:spMkLst>
            <pc:docMk/>
            <pc:sldMk cId="3466660011" sldId="6698"/>
            <ac:spMk id="7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7:00.679" v="292" actId="1036"/>
          <ac:spMkLst>
            <pc:docMk/>
            <pc:sldMk cId="3466660011" sldId="6698"/>
            <ac:spMk id="16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466660011" sldId="6698"/>
            <ac:spMk id="19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6:42.263" v="277" actId="1037"/>
          <ac:spMkLst>
            <pc:docMk/>
            <pc:sldMk cId="3466660011" sldId="6698"/>
            <ac:spMk id="20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6:42.263" v="277" actId="1037"/>
          <ac:spMkLst>
            <pc:docMk/>
            <pc:sldMk cId="3466660011" sldId="6698"/>
            <ac:spMk id="21" creationId="{00000000-0000-0000-0000-000000000000}"/>
          </ac:spMkLst>
        </pc:spChg>
        <pc:picChg chg="mod">
          <ac:chgData name="Braun, Pascal" userId="e97c6705-55e6-4901-8a33-cac116ea148a" providerId="ADAL" clId="{314184FA-5CD8-4002-A2E7-1C3EB0F57462}" dt="2021-05-18T10:19:13.678" v="105" actId="14100"/>
          <ac:picMkLst>
            <pc:docMk/>
            <pc:sldMk cId="3466660011" sldId="6698"/>
            <ac:picMk id="6" creationId="{00000000-0000-0000-0000-000000000000}"/>
          </ac:picMkLst>
        </pc:picChg>
        <pc:picChg chg="mod">
          <ac:chgData name="Braun, Pascal" userId="e97c6705-55e6-4901-8a33-cac116ea148a" providerId="ADAL" clId="{314184FA-5CD8-4002-A2E7-1C3EB0F57462}" dt="2021-05-18T10:26:53.687" v="283" actId="1076"/>
          <ac:picMkLst>
            <pc:docMk/>
            <pc:sldMk cId="3466660011" sldId="6698"/>
            <ac:picMk id="14" creationId="{00000000-0000-0000-0000-000000000000}"/>
          </ac:picMkLst>
        </pc:picChg>
      </pc:sldChg>
      <pc:sldChg chg="modSp mod">
        <pc:chgData name="Braun, Pascal" userId="e97c6705-55e6-4901-8a33-cac116ea148a" providerId="ADAL" clId="{314184FA-5CD8-4002-A2E7-1C3EB0F57462}" dt="2021-05-18T12:07:30.458" v="638" actId="20577"/>
        <pc:sldMkLst>
          <pc:docMk/>
          <pc:sldMk cId="1692166078" sldId="6699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1692166078" sldId="6699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14:55.043" v="27" actId="20577"/>
          <ac:spMkLst>
            <pc:docMk/>
            <pc:sldMk cId="1692166078" sldId="6699"/>
            <ac:spMk id="10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2:07:30.458" v="638" actId="20577"/>
          <ac:spMkLst>
            <pc:docMk/>
            <pc:sldMk cId="1692166078" sldId="6699"/>
            <ac:spMk id="12" creationId="{00000000-0000-0000-0000-000000000000}"/>
          </ac:spMkLst>
        </pc:spChg>
        <pc:picChg chg="mod">
          <ac:chgData name="Braun, Pascal" userId="e97c6705-55e6-4901-8a33-cac116ea148a" providerId="ADAL" clId="{314184FA-5CD8-4002-A2E7-1C3EB0F57462}" dt="2021-05-18T10:16:39.655" v="33" actId="1076"/>
          <ac:picMkLst>
            <pc:docMk/>
            <pc:sldMk cId="1692166078" sldId="6699"/>
            <ac:picMk id="17" creationId="{00000000-0000-0000-0000-000000000000}"/>
          </ac:picMkLst>
        </pc:picChg>
      </pc:sldChg>
      <pc:sldChg chg="modSp mod">
        <pc:chgData name="Braun, Pascal" userId="e97c6705-55e6-4901-8a33-cac116ea148a" providerId="ADAL" clId="{314184FA-5CD8-4002-A2E7-1C3EB0F57462}" dt="2021-05-18T10:36:35.463" v="496" actId="1038"/>
        <pc:sldMkLst>
          <pc:docMk/>
          <pc:sldMk cId="3034480701" sldId="6703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034480701" sldId="6703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3034480701" sldId="6703"/>
            <ac:spMk id="40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6:35.463" v="496" actId="1038"/>
          <ac:spMkLst>
            <pc:docMk/>
            <pc:sldMk cId="3034480701" sldId="6703"/>
            <ac:spMk id="42" creationId="{00000000-0000-0000-0000-000000000000}"/>
          </ac:spMkLst>
        </pc:spChg>
      </pc:sldChg>
      <pc:sldChg chg="modSp mod">
        <pc:chgData name="Braun, Pascal" userId="e97c6705-55e6-4901-8a33-cac116ea148a" providerId="ADAL" clId="{314184FA-5CD8-4002-A2E7-1C3EB0F57462}" dt="2021-05-18T10:22:01.878" v="173"/>
        <pc:sldMkLst>
          <pc:docMk/>
          <pc:sldMk cId="527790724" sldId="6704"/>
        </pc:sld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527790724" sldId="6704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12:25.015" v="0" actId="20577"/>
          <ac:spMkLst>
            <pc:docMk/>
            <pc:sldMk cId="527790724" sldId="6704"/>
            <ac:spMk id="7" creationId="{00000000-0000-0000-0000-000000000000}"/>
          </ac:spMkLst>
        </pc:spChg>
      </pc:sldChg>
      <pc:sldChg chg="addSp delSp modSp mod">
        <pc:chgData name="Braun, Pascal" userId="e97c6705-55e6-4901-8a33-cac116ea148a" providerId="ADAL" clId="{314184FA-5CD8-4002-A2E7-1C3EB0F57462}" dt="2021-05-20T09:03:39.617" v="1303" actId="1036"/>
        <pc:sldMkLst>
          <pc:docMk/>
          <pc:sldMk cId="616927707" sldId="6705"/>
        </pc:sldMkLst>
        <pc:spChg chg="mod">
          <ac:chgData name="Braun, Pascal" userId="e97c6705-55e6-4901-8a33-cac116ea148a" providerId="ADAL" clId="{314184FA-5CD8-4002-A2E7-1C3EB0F57462}" dt="2021-05-18T10:22:27.995" v="177" actId="20577"/>
          <ac:spMkLst>
            <pc:docMk/>
            <pc:sldMk cId="616927707" sldId="6705"/>
            <ac:spMk id="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k cId="616927707" sldId="6705"/>
            <ac:spMk id="4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18T10:35:27.388" v="460" actId="1035"/>
          <ac:spMkLst>
            <pc:docMk/>
            <pc:sldMk cId="616927707" sldId="6705"/>
            <ac:spMk id="18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0T09:03:30.179" v="1297" actId="20577"/>
          <ac:spMkLst>
            <pc:docMk/>
            <pc:sldMk cId="616927707" sldId="6705"/>
            <ac:spMk id="25" creationId="{00000000-0000-0000-0000-000000000000}"/>
          </ac:spMkLst>
        </pc:spChg>
        <pc:spChg chg="add del mod">
          <ac:chgData name="Braun, Pascal" userId="e97c6705-55e6-4901-8a33-cac116ea148a" providerId="ADAL" clId="{314184FA-5CD8-4002-A2E7-1C3EB0F57462}" dt="2021-05-18T12:55:24.225" v="649" actId="21"/>
          <ac:spMkLst>
            <pc:docMk/>
            <pc:sldMk cId="616927707" sldId="6705"/>
            <ac:spMk id="26" creationId="{C1AF660B-2D82-4159-A1DB-EC0154A0E5BB}"/>
          </ac:spMkLst>
        </pc:spChg>
        <pc:spChg chg="mod">
          <ac:chgData name="Braun, Pascal" userId="e97c6705-55e6-4901-8a33-cac116ea148a" providerId="ADAL" clId="{314184FA-5CD8-4002-A2E7-1C3EB0F57462}" dt="2021-05-20T09:02:10.448" v="1290" actId="1076"/>
          <ac:spMkLst>
            <pc:docMk/>
            <pc:sldMk cId="616927707" sldId="6705"/>
            <ac:spMk id="31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0T09:02:04.478" v="1289" actId="1035"/>
          <ac:spMkLst>
            <pc:docMk/>
            <pc:sldMk cId="616927707" sldId="6705"/>
            <ac:spMk id="32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0T09:01:40.625" v="1263" actId="1076"/>
          <ac:spMkLst>
            <pc:docMk/>
            <pc:sldMk cId="616927707" sldId="6705"/>
            <ac:spMk id="43" creationId="{00000000-0000-0000-0000-000000000000}"/>
          </ac:spMkLst>
        </pc:spChg>
        <pc:spChg chg="mod">
          <ac:chgData name="Braun, Pascal" userId="e97c6705-55e6-4901-8a33-cac116ea148a" providerId="ADAL" clId="{314184FA-5CD8-4002-A2E7-1C3EB0F57462}" dt="2021-05-20T09:03:39.617" v="1303" actId="1036"/>
          <ac:spMkLst>
            <pc:docMk/>
            <pc:sldMk cId="616927707" sldId="6705"/>
            <ac:spMk id="45" creationId="{00000000-0000-0000-0000-000000000000}"/>
          </ac:spMkLst>
        </pc:spChg>
      </pc:sldChg>
      <pc:sldMasterChg chg="modSp modSldLayout">
        <pc:chgData name="Braun, Pascal" userId="e97c6705-55e6-4901-8a33-cac116ea148a" providerId="ADAL" clId="{314184FA-5CD8-4002-A2E7-1C3EB0F57462}" dt="2021-05-18T10:22:01.878" v="173"/>
        <pc:sldMasterMkLst>
          <pc:docMk/>
          <pc:sldMasterMk cId="0" sldId="2147483857"/>
        </pc:sldMasterMkLst>
        <pc:spChg chg="mod">
          <ac:chgData name="Braun, Pascal" userId="e97c6705-55e6-4901-8a33-cac116ea148a" providerId="ADAL" clId="{314184FA-5CD8-4002-A2E7-1C3EB0F57462}" dt="2021-05-18T10:22:01.878" v="173"/>
          <ac:spMkLst>
            <pc:docMk/>
            <pc:sldMasterMk cId="0" sldId="2147483857"/>
            <ac:spMk id="13" creationId="{CE98DF68-82CA-4F59-B21F-2D8EE1B9585D}"/>
          </ac:spMkLst>
        </pc:sp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3432610956" sldId="2147483808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3432610956" sldId="2147483808"/>
              <ac:spMk id="10" creationId="{FC35A7FC-DDAF-43AB-A1B6-E65C401E1596}"/>
            </ac:spMkLst>
          </pc:spChg>
        </pc:sldLayout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1018079430" sldId="2147483820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1018079430" sldId="2147483820"/>
              <ac:spMk id="8" creationId="{C89D8EAD-4A5A-4EEF-B94A-413FC88DEFA2}"/>
            </ac:spMkLst>
          </pc:spChg>
        </pc:sldLayout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3483904521" sldId="2147483858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3483904521" sldId="2147483858"/>
              <ac:spMk id="16" creationId="{4F1E733E-A0A0-4412-8CBC-C27828E1B8A3}"/>
            </ac:spMkLst>
          </pc:spChg>
        </pc:sldLayout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1641030435" sldId="2147483859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1641030435" sldId="2147483859"/>
              <ac:spMk id="12" creationId="{7160233C-46B1-4EC6-A949-5C805BD857D2}"/>
            </ac:spMkLst>
          </pc:spChg>
        </pc:sldLayout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1908596888" sldId="2147483860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1908596888" sldId="2147483860"/>
              <ac:spMk id="15" creationId="{7508C36A-1825-4D0B-A8F1-9C50193E9231}"/>
            </ac:spMkLst>
          </pc:spChg>
        </pc:sldLayoutChg>
        <pc:sldLayoutChg chg="modSp">
          <pc:chgData name="Braun, Pascal" userId="e97c6705-55e6-4901-8a33-cac116ea148a" providerId="ADAL" clId="{314184FA-5CD8-4002-A2E7-1C3EB0F57462}" dt="2021-05-18T10:22:01.878" v="173"/>
          <pc:sldLayoutMkLst>
            <pc:docMk/>
            <pc:sldMasterMk cId="0" sldId="2147483667"/>
            <pc:sldLayoutMk cId="3840454991" sldId="2147483861"/>
          </pc:sldLayoutMkLst>
          <pc:spChg chg="mod">
            <ac:chgData name="Braun, Pascal" userId="e97c6705-55e6-4901-8a33-cac116ea148a" providerId="ADAL" clId="{314184FA-5CD8-4002-A2E7-1C3EB0F57462}" dt="2021-05-18T10:22:01.878" v="173"/>
            <ac:spMkLst>
              <pc:docMk/>
              <pc:sldMasterMk cId="0" sldId="2147483667"/>
              <pc:sldLayoutMk cId="3840454991" sldId="2147483861"/>
              <ac:spMk id="15" creationId="{A2070A1C-EA91-4736-BD6F-590722ED072A}"/>
            </ac:spMkLst>
          </pc:spChg>
        </pc:sldLayoutChg>
      </pc:sldMasterChg>
    </pc:docChg>
  </pc:docChgLst>
  <pc:docChgLst>
    <pc:chgData name="Braun, Pascal" userId="e97c6705-55e6-4901-8a33-cac116ea148a" providerId="ADAL" clId="{A78765B4-B540-483E-BC8E-9746B2C65D47}"/>
    <pc:docChg chg="undo custSel modSld">
      <pc:chgData name="Braun, Pascal" userId="e97c6705-55e6-4901-8a33-cac116ea148a" providerId="ADAL" clId="{A78765B4-B540-483E-BC8E-9746B2C65D47}" dt="2021-04-28T07:13:05.427" v="1848" actId="207"/>
      <pc:docMkLst>
        <pc:docMk/>
      </pc:docMkLst>
      <pc:sldChg chg="addSp modSp mod">
        <pc:chgData name="Braun, Pascal" userId="e97c6705-55e6-4901-8a33-cac116ea148a" providerId="ADAL" clId="{A78765B4-B540-483E-BC8E-9746B2C65D47}" dt="2021-04-28T07:13:05.427" v="1848" actId="207"/>
        <pc:sldMkLst>
          <pc:docMk/>
          <pc:sldMk cId="246182653" sldId="6681"/>
        </pc:sldMkLst>
        <pc:spChg chg="add mod">
          <ac:chgData name="Braun, Pascal" userId="e97c6705-55e6-4901-8a33-cac116ea148a" providerId="ADAL" clId="{A78765B4-B540-483E-BC8E-9746B2C65D47}" dt="2021-04-27T12:35:26.806" v="1222" actId="1076"/>
          <ac:spMkLst>
            <pc:docMk/>
            <pc:sldMk cId="246182653" sldId="6681"/>
            <ac:spMk id="2" creationId="{17190819-694F-4722-9F70-B1E2D3B598B3}"/>
          </ac:spMkLst>
        </pc:spChg>
        <pc:spChg chg="mod">
          <ac:chgData name="Braun, Pascal" userId="e97c6705-55e6-4901-8a33-cac116ea148a" providerId="ADAL" clId="{A78765B4-B540-483E-BC8E-9746B2C65D47}" dt="2021-04-28T07:13:05.427" v="1848" actId="207"/>
          <ac:spMkLst>
            <pc:docMk/>
            <pc:sldMk cId="246182653" sldId="6681"/>
            <ac:spMk id="3" creationId="{00000000-0000-0000-0000-000000000000}"/>
          </ac:spMkLst>
        </pc:spChg>
        <pc:spChg chg="mod">
          <ac:chgData name="Braun, Pascal" userId="e97c6705-55e6-4901-8a33-cac116ea148a" providerId="ADAL" clId="{A78765B4-B540-483E-BC8E-9746B2C65D47}" dt="2021-04-28T07:07:51.538" v="1613" actId="20577"/>
          <ac:spMkLst>
            <pc:docMk/>
            <pc:sldMk cId="246182653" sldId="6681"/>
            <ac:spMk id="7" creationId="{00000000-0000-0000-0000-000000000000}"/>
          </ac:spMkLst>
        </pc:spChg>
        <pc:spChg chg="mod">
          <ac:chgData name="Braun, Pascal" userId="e97c6705-55e6-4901-8a33-cac116ea148a" providerId="ADAL" clId="{A78765B4-B540-483E-BC8E-9746B2C65D47}" dt="2021-04-27T12:14:51.349" v="28" actId="20577"/>
          <ac:spMkLst>
            <pc:docMk/>
            <pc:sldMk cId="246182653" sldId="6681"/>
            <ac:spMk id="8" creationId="{07F737EB-A4F5-4870-A458-6FF005C0046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3FD004F-D946-4D67-84B2-7A4725C0A1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4702983-3386-41B4-B239-DACA5EFB8EC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B81303-A053-45BA-A7D4-E491675D2C90}" type="datetimeFigureOut">
              <a:rPr lang="fr-FR" smtClean="0"/>
              <a:t>25/05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64ECFEA-D668-4C8C-B984-0DE832F628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C67A65-A213-480B-86AA-68AC865BAC6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18A30-A658-4FC6-AABA-A7FC290DAEC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46428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25/05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8291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1138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8247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582782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B986CE4-310D-D84E-9681-9DD8568C67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12" y="123478"/>
            <a:ext cx="1908000" cy="2361150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568F140-6993-4A23-A663-F410A4A84144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6" name="Espace réservé du pied de page 2">
            <a:extLst>
              <a:ext uri="{FF2B5EF4-FFF2-40B4-BE49-F238E27FC236}">
                <a16:creationId xmlns:a16="http://schemas.microsoft.com/office/drawing/2014/main" id="{4F1E733E-A0A0-4412-8CBC-C27828E1B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 Mode opératoire Enseignant  </a:t>
            </a:r>
            <a:endParaRPr lang="fr-FR" b="0"/>
          </a:p>
        </p:txBody>
      </p:sp>
      <p:sp>
        <p:nvSpPr>
          <p:cNvPr id="17" name="Espace réservé de la date 2">
            <a:extLst>
              <a:ext uri="{FF2B5EF4-FFF2-40B4-BE49-F238E27FC236}">
                <a16:creationId xmlns:a16="http://schemas.microsoft.com/office/drawing/2014/main" id="{3A92B3F7-62CF-44BE-A25D-98F79E227E64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2614A38C-BB8F-4EB1-8098-675DABAAFE34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3483904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V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B8B3202-7FDD-4BFB-A1D6-B9EB95658B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673" y="494110"/>
            <a:ext cx="777478" cy="10846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r les styles du texte du masqu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7B660C6C-94BB-4C4F-8BD7-78DC86A9A0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916" y="534591"/>
            <a:ext cx="822722" cy="1129903"/>
          </a:xfrm>
          <a:effectLst>
            <a:outerShdw blurRad="127000" dist="292100" dir="5400000" sx="82000" sy="82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787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687994"/>
            <a:ext cx="8147447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EFEACC3B-D3A0-45C7-B56E-766A1B294EB3}"/>
              </a:ext>
            </a:extLst>
          </p:cNvPr>
          <p:cNvSpPr/>
          <p:nvPr userDrawn="1"/>
        </p:nvSpPr>
        <p:spPr>
          <a:xfrm rot="10800000">
            <a:off x="8326839" y="-832165"/>
            <a:ext cx="1656000" cy="1656000"/>
          </a:xfrm>
          <a:prstGeom prst="arc">
            <a:avLst/>
          </a:prstGeom>
          <a:gradFill>
            <a:gsLst>
              <a:gs pos="0">
                <a:schemeClr val="accent2"/>
              </a:gs>
              <a:gs pos="100000">
                <a:schemeClr val="accent1">
                  <a:alpha val="80000"/>
                </a:schemeClr>
              </a:gs>
            </a:gsLst>
            <a:lin ang="2700000" scaled="0"/>
          </a:gradFill>
          <a:ln w="12700">
            <a:noFill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9824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2C3A7C0-26D0-4079-B9CE-8E3EDA086FE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687994"/>
            <a:ext cx="8147447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6269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6500812" y="0"/>
            <a:ext cx="2643188" cy="51435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08EED028-72E2-477F-A223-9598B5CB72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50151" y="1478610"/>
            <a:ext cx="4708689" cy="2765298"/>
          </a:xfrm>
          <a:prstGeom prst="rect">
            <a:avLst/>
          </a:prstGeom>
        </p:spPr>
      </p:pic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EED158F-0E6A-43DD-81B3-3DC64FB13E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730948" y="1673423"/>
            <a:ext cx="3548658" cy="2219921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921B6F65-DC7E-4564-B0B1-327BED38BC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231106"/>
            <a:ext cx="3431141" cy="316173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97DDF472-E24C-4F1C-A0D3-A1A5647EE7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687994"/>
            <a:ext cx="8147447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0558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t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6500812" y="0"/>
            <a:ext cx="2643188" cy="51435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FE0D1FC-961A-4E74-AF39-53E638A235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65165" y="1101098"/>
            <a:ext cx="2478660" cy="3474984"/>
          </a:xfrm>
          <a:prstGeom prst="rect">
            <a:avLst/>
          </a:prstGeom>
        </p:spPr>
      </p:pic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EED158F-0E6A-43DD-81B3-3DC64FB13E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62588" y="1446611"/>
            <a:ext cx="2080617" cy="277891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97555282-95F1-4C07-954C-4168E28D8C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231106"/>
            <a:ext cx="3431141" cy="316173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001DBB0E-39EE-41B6-B341-E9B509DE23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687994"/>
            <a:ext cx="8147447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03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rt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B85569-B1A0-40C6-899D-1FC3C7FC5EBC}"/>
              </a:ext>
            </a:extLst>
          </p:cNvPr>
          <p:cNvSpPr/>
          <p:nvPr userDrawn="1"/>
        </p:nvSpPr>
        <p:spPr>
          <a:xfrm>
            <a:off x="6500812" y="0"/>
            <a:ext cx="2643188" cy="5143500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fr-FR" sz="135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7526E2E-0D85-44C9-8E05-6A40BC8E2C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91597" y="1170154"/>
            <a:ext cx="1825796" cy="3344696"/>
          </a:xfrm>
          <a:prstGeom prst="rect">
            <a:avLst/>
          </a:prstGeom>
        </p:spPr>
      </p:pic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CEED158F-0E6A-43DD-81B3-3DC64FB13E3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04297" y="1610916"/>
            <a:ext cx="1397198" cy="2468165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0711FA82-8373-4F08-9599-DA3C5E9223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231106"/>
            <a:ext cx="3431141" cy="3161732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5CA6B81-4DD4-4D81-91C7-76E9370AF5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687994"/>
            <a:ext cx="8147447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3722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s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3897873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335E8527-843A-45A2-8690-21D6888095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973437"/>
            <a:ext cx="3897874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134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FF192524-8149-4341-9A2C-3B52A4A45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8208168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E690AFD6-40C2-413F-9F82-B9CE4EB38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973437"/>
            <a:ext cx="8208168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0196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mple Slide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FF192524-8149-4341-9A2C-3B52A4A45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8208168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E690AFD6-40C2-413F-9F82-B9CE4EB38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973437"/>
            <a:ext cx="8208168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71A221E7-8B31-4740-B58B-ECFBA72207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507467"/>
            <a:ext cx="8208167" cy="266259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1AC4198F-1F9C-42CB-9B9D-BA5572B44C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7" y="4334773"/>
            <a:ext cx="8208167" cy="252296"/>
          </a:xfrm>
        </p:spPr>
        <p:txBody>
          <a:bodyPr anchor="ctr"/>
          <a:lstStyle>
            <a:lvl1pPr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Source / </a:t>
            </a:r>
            <a:r>
              <a:rPr lang="fr-FR" err="1"/>
              <a:t>Footno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14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mple Slide two rows &amp;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FF192524-8149-4341-9A2C-3B52A4A45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8208168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E690AFD6-40C2-413F-9F82-B9CE4EB38F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7916" y="973437"/>
            <a:ext cx="8208168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  <p:sp>
        <p:nvSpPr>
          <p:cNvPr id="11" name="Espace réservé du texte 5">
            <a:extLst>
              <a:ext uri="{FF2B5EF4-FFF2-40B4-BE49-F238E27FC236}">
                <a16:creationId xmlns:a16="http://schemas.microsoft.com/office/drawing/2014/main" id="{71A221E7-8B31-4740-B58B-ECFBA722071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6" y="1507467"/>
            <a:ext cx="3897874" cy="266259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1AC4198F-1F9C-42CB-9B9D-BA5572B44C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7" y="4334773"/>
            <a:ext cx="8208167" cy="252296"/>
          </a:xfrm>
        </p:spPr>
        <p:txBody>
          <a:bodyPr anchor="ctr"/>
          <a:lstStyle>
            <a:lvl1pPr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Source / </a:t>
            </a:r>
            <a:r>
              <a:rPr lang="fr-FR" err="1"/>
              <a:t>Footnote</a:t>
            </a:r>
            <a:endParaRPr lang="en-US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E39C19D2-1843-4629-9D9F-79FBCBE6FD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78210" y="1507467"/>
            <a:ext cx="3897874" cy="266259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746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1135582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212755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129182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129182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18768F-67A3-4612-90C4-01A7C0401A7D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2" name="Espace réservé du pied de page 2">
            <a:extLst>
              <a:ext uri="{FF2B5EF4-FFF2-40B4-BE49-F238E27FC236}">
                <a16:creationId xmlns:a16="http://schemas.microsoft.com/office/drawing/2014/main" id="{7160233C-46B1-4EC6-A949-5C805BD85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 Mode opératoire Enseignant  </a:t>
            </a:r>
            <a:endParaRPr lang="fr-FR" b="0"/>
          </a:p>
        </p:txBody>
      </p:sp>
      <p:sp>
        <p:nvSpPr>
          <p:cNvPr id="13" name="Espace réservé de la date 2">
            <a:extLst>
              <a:ext uri="{FF2B5EF4-FFF2-40B4-BE49-F238E27FC236}">
                <a16:creationId xmlns:a16="http://schemas.microsoft.com/office/drawing/2014/main" id="{3B0890E3-849C-469C-992F-F9EE271D7DCA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F5306A20-94EA-48CE-AE47-E1AF9C80391A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16410304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29899" y="1221582"/>
            <a:ext cx="3946185" cy="3364706"/>
          </a:xfrm>
        </p:spPr>
        <p:txBody>
          <a:bodyPr/>
          <a:lstStyle/>
          <a:p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916" y="1221582"/>
            <a:ext cx="3946185" cy="3364706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82CFEC60-8A31-480A-B4C9-65A5C05FE13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687994"/>
            <a:ext cx="8208169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8014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2">
            <a:extLst>
              <a:ext uri="{FF2B5EF4-FFF2-40B4-BE49-F238E27FC236}">
                <a16:creationId xmlns:a16="http://schemas.microsoft.com/office/drawing/2014/main" id="{A829859B-BEDB-4EE6-8FBB-7FAA00ACD28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00027" y="1221582"/>
            <a:ext cx="2543948" cy="3364706"/>
          </a:xfrm>
        </p:spPr>
        <p:txBody>
          <a:bodyPr/>
          <a:lstStyle/>
          <a:p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B895159-EF8E-483A-B23D-9F4D082BD5C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916" y="1221582"/>
            <a:ext cx="2543948" cy="3364706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6" y="387826"/>
            <a:ext cx="8208169" cy="277001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Espace réservé pour une image  2">
            <a:extLst>
              <a:ext uri="{FF2B5EF4-FFF2-40B4-BE49-F238E27FC236}">
                <a16:creationId xmlns:a16="http://schemas.microsoft.com/office/drawing/2014/main" id="{6E638EAA-0D75-402D-A97B-CB436517B43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2137" y="1221582"/>
            <a:ext cx="2543948" cy="3364706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F8DF4B3B-9680-4753-BD83-79F5EDD0BA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687994"/>
            <a:ext cx="8208169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306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3897873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1" y="0"/>
            <a:ext cx="4572000" cy="51435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87DCD5ED-53CF-4FEC-9D17-8D5D34068DD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8"/>
            <a:ext cx="3579734" cy="2964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8B51F57A-8CB6-4950-A91F-9F0CCB389C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973437"/>
            <a:ext cx="3897873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3822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3897873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1" y="0"/>
            <a:ext cx="4572000" cy="257174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1" y="2571745"/>
            <a:ext cx="4572000" cy="257174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899E020A-EEA4-4600-8375-0C222DE5BC9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8"/>
            <a:ext cx="3579734" cy="2964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38EBD5BB-396B-4B85-AD3B-FC527B3198C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973437"/>
            <a:ext cx="3897873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1148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ou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00C49E21-E183-46F5-861C-0B325E19EA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389254"/>
            <a:ext cx="3897873" cy="54657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2F9C71C-52F1-4A4D-AC3B-473629771E2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72001" y="0"/>
            <a:ext cx="2286000" cy="2571745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Espace réservé pour une image  2">
            <a:extLst>
              <a:ext uri="{FF2B5EF4-FFF2-40B4-BE49-F238E27FC236}">
                <a16:creationId xmlns:a16="http://schemas.microsoft.com/office/drawing/2014/main" id="{42EC5DE7-3E80-4C68-890A-E3D664FBE1B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001" y="2571745"/>
            <a:ext cx="2286000" cy="257175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Espace réservé pour une image  2">
            <a:extLst>
              <a:ext uri="{FF2B5EF4-FFF2-40B4-BE49-F238E27FC236}">
                <a16:creationId xmlns:a16="http://schemas.microsoft.com/office/drawing/2014/main" id="{E7605A3B-0179-473B-9CB6-CC5A493B967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8001" y="0"/>
            <a:ext cx="2286000" cy="2571745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Espace réservé pour une image  2">
            <a:extLst>
              <a:ext uri="{FF2B5EF4-FFF2-40B4-BE49-F238E27FC236}">
                <a16:creationId xmlns:a16="http://schemas.microsoft.com/office/drawing/2014/main" id="{15060EE6-A355-453C-AA84-ABCFFCC6CA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01" y="2571745"/>
            <a:ext cx="2286000" cy="257174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13832BF3-4358-40E5-BBF5-E3E1849FBA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8"/>
            <a:ext cx="3579734" cy="2964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FFDCA115-114D-4B70-99BD-FCA102218F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7916" y="973437"/>
            <a:ext cx="3897873" cy="230600"/>
          </a:xfrm>
        </p:spPr>
        <p:txBody>
          <a:bodyPr anchor="t"/>
          <a:lstStyle>
            <a:lvl1pPr>
              <a:buFontTx/>
              <a:buNone/>
              <a:defRPr sz="105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0" indent="0">
              <a:buFontTx/>
              <a:buNone/>
              <a:defRPr/>
            </a:lvl2pPr>
            <a:lvl3pPr marL="135729" indent="0">
              <a:buFontTx/>
              <a:buNone/>
              <a:defRPr/>
            </a:lvl3pPr>
            <a:lvl4pPr marL="280980" indent="0">
              <a:buFontTx/>
              <a:buNone/>
              <a:defRPr/>
            </a:lvl4pPr>
            <a:lvl5pPr marL="485763" indent="0">
              <a:buFontTx/>
              <a:buNone/>
              <a:defRPr/>
            </a:lvl5pPr>
          </a:lstStyle>
          <a:p>
            <a:pPr lvl="0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863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&amp;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916" y="2799160"/>
            <a:ext cx="3765947" cy="1458515"/>
          </a:xfrm>
        </p:spPr>
        <p:txBody>
          <a:bodyPr/>
          <a:lstStyle/>
          <a:p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2519" y="492919"/>
            <a:ext cx="3763566" cy="1457325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FF192524-8149-4341-9A2C-3B52A4A45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601901"/>
            <a:ext cx="3457574" cy="891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590ED3A0-0804-4445-B8C1-4483886AFD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8"/>
            <a:ext cx="3897873" cy="100113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E93455B5-DE17-4DA0-8356-68884C66FC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12519" y="2328670"/>
            <a:ext cx="3763565" cy="192900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481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&amp; Lef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BD8D428F-1999-4CD7-803A-0499EFBBC9A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7916" y="2799160"/>
            <a:ext cx="3765947" cy="1458515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E01E015C-93C8-4D2F-9166-03A43005A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601901"/>
            <a:ext cx="3457574" cy="891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B5E6847B-C0F4-4A08-B7DB-8E6B008D6B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8"/>
            <a:ext cx="3897873" cy="1001139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0" name="Espace réservé du texte 5">
            <a:extLst>
              <a:ext uri="{FF2B5EF4-FFF2-40B4-BE49-F238E27FC236}">
                <a16:creationId xmlns:a16="http://schemas.microsoft.com/office/drawing/2014/main" id="{8372EB75-FCF3-4C1E-B44F-4562220E17C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12517" y="601901"/>
            <a:ext cx="3763566" cy="387095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105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 &amp;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5373431-056A-4064-9619-EA69252277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2519" y="492919"/>
            <a:ext cx="3763566" cy="1457325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61AD2B34-5FA4-4E0B-A280-FEA6FF9B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601901"/>
            <a:ext cx="3457574" cy="891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32A4E130-9F59-49F6-9AC1-402FC543C1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9"/>
            <a:ext cx="3851915" cy="2809847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B3719CAF-C999-41B3-9DC0-DB7FDDB101C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12517" y="2328671"/>
            <a:ext cx="3763566" cy="214418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106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B94C2827-EDBF-49E4-989D-2F4CA76A99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7917" y="601901"/>
            <a:ext cx="3457574" cy="891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1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D39EE15-8691-4D6D-8689-F6C9C166A6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7917" y="1663009"/>
            <a:ext cx="3851915" cy="2809847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  <p:sp>
        <p:nvSpPr>
          <p:cNvPr id="7" name="Espace réservé du texte 5">
            <a:extLst>
              <a:ext uri="{FF2B5EF4-FFF2-40B4-BE49-F238E27FC236}">
                <a16:creationId xmlns:a16="http://schemas.microsoft.com/office/drawing/2014/main" id="{8D36094F-742A-463D-94D7-34694614FAC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12517" y="601901"/>
            <a:ext cx="3763566" cy="3870955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439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dient background &amp; Clie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7917" y="457201"/>
            <a:ext cx="907256" cy="907256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1DA10A5-2198-4B6D-9D51-D4BAC0A79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60554" y="596766"/>
            <a:ext cx="1439466" cy="68813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Name</a:t>
            </a:r>
            <a:r>
              <a:rPr lang="en-US"/>
              <a:t/>
            </a:r>
            <a:br>
              <a:rPr lang="en-US"/>
            </a:br>
            <a:r>
              <a:rPr lang="en-US"/>
              <a:t>Job Title</a:t>
            </a:r>
            <a:endParaRPr lang="fr-FR"/>
          </a:p>
        </p:txBody>
      </p:sp>
      <p:sp>
        <p:nvSpPr>
          <p:cNvPr id="9" name="Espace réservé du texte 2">
            <a:extLst>
              <a:ext uri="{FF2B5EF4-FFF2-40B4-BE49-F238E27FC236}">
                <a16:creationId xmlns:a16="http://schemas.microsoft.com/office/drawing/2014/main" id="{7E36D8B3-5AF5-45F6-90C6-1052246B13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460554" y="2047850"/>
            <a:ext cx="1439466" cy="68813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Client/Partner</a:t>
            </a:r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0D3B2E41-E3DE-45E5-939D-B6DE8A989C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60554" y="372702"/>
            <a:ext cx="1439466" cy="173255"/>
          </a:xfrm>
        </p:spPr>
        <p:txBody>
          <a:bodyPr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9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by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1D1B2086-F342-4DE1-AD6A-A7B47BEEE0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0554" y="1824064"/>
            <a:ext cx="1439466" cy="173255"/>
          </a:xfrm>
        </p:spPr>
        <p:txBody>
          <a:bodyPr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fr-FR" sz="9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 err="1"/>
              <a:t>Prepared</a:t>
            </a:r>
            <a:r>
              <a:rPr lang="fr-FR"/>
              <a:t> for</a:t>
            </a:r>
          </a:p>
        </p:txBody>
      </p:sp>
      <p:sp>
        <p:nvSpPr>
          <p:cNvPr id="8" name="Espace réservé du texte 2">
            <a:extLst>
              <a:ext uri="{FF2B5EF4-FFF2-40B4-BE49-F238E27FC236}">
                <a16:creationId xmlns:a16="http://schemas.microsoft.com/office/drawing/2014/main" id="{4C504E6A-B57F-44AE-A36F-412D79F37B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16" y="1592560"/>
            <a:ext cx="6105413" cy="1092890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9729660A-7456-41BB-81A5-4F96B184E7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7916" y="2836730"/>
            <a:ext cx="6105413" cy="567377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fr-FR" sz="15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Headlines</a:t>
            </a:r>
          </a:p>
          <a:p>
            <a:pPr lvl="0"/>
            <a:r>
              <a:rPr lang="fr-FR"/>
              <a:t>Example</a:t>
            </a:r>
          </a:p>
        </p:txBody>
      </p:sp>
    </p:spTree>
    <p:extLst>
      <p:ext uri="{BB962C8B-B14F-4D97-AF65-F5344CB8AC3E}">
        <p14:creationId xmlns:p14="http://schemas.microsoft.com/office/powerpoint/2010/main" val="1486664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059582"/>
            <a:ext cx="9144000" cy="4084818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81488DA-3335-4AE6-B5E9-2E9338041EF9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5" name="Espace réservé du pied de page 2">
            <a:extLst>
              <a:ext uri="{FF2B5EF4-FFF2-40B4-BE49-F238E27FC236}">
                <a16:creationId xmlns:a16="http://schemas.microsoft.com/office/drawing/2014/main" id="{7508C36A-1825-4D0B-A8F1-9C50193E9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 Mode opératoire Enseignant  </a:t>
            </a:r>
            <a:endParaRPr lang="fr-FR" b="0"/>
          </a:p>
        </p:txBody>
      </p:sp>
      <p:sp>
        <p:nvSpPr>
          <p:cNvPr id="16" name="Espace réservé de la date 2">
            <a:extLst>
              <a:ext uri="{FF2B5EF4-FFF2-40B4-BE49-F238E27FC236}">
                <a16:creationId xmlns:a16="http://schemas.microsoft.com/office/drawing/2014/main" id="{D579554F-AD46-413F-9F08-62FD3B0C448A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FF504B11-747A-4CF6-955B-D5A36024369E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19085968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 &amp; Client logo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C0F1405B-9BAB-4D02-8E51-4701BB7DF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7917" y="457201"/>
            <a:ext cx="907256" cy="907256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</p:spTree>
    <p:extLst>
      <p:ext uri="{BB962C8B-B14F-4D97-AF65-F5344CB8AC3E}">
        <p14:creationId xmlns:p14="http://schemas.microsoft.com/office/powerpoint/2010/main" val="711039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Gradient Cover">
    <p:bg>
      <p:bgPr>
        <a:gradFill>
          <a:gsLst>
            <a:gs pos="0">
              <a:schemeClr val="accent2"/>
            </a:gs>
            <a:gs pos="100000">
              <a:schemeClr val="accent1">
                <a:alpha val="8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22">
            <a:extLst>
              <a:ext uri="{FF2B5EF4-FFF2-40B4-BE49-F238E27FC236}">
                <a16:creationId xmlns:a16="http://schemas.microsoft.com/office/drawing/2014/main" id="{B0ABA653-F417-4416-82DD-01FB0CEE3D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Espace réservé du texte 2">
            <a:extLst>
              <a:ext uri="{FF2B5EF4-FFF2-40B4-BE49-F238E27FC236}">
                <a16:creationId xmlns:a16="http://schemas.microsoft.com/office/drawing/2014/main" id="{D985AD32-F2F7-4143-91BD-36B4E01800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916" y="1592560"/>
            <a:ext cx="8208169" cy="1092890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 b="1">
                <a:solidFill>
                  <a:schemeClr val="bg1"/>
                </a:solidFill>
                <a:latin typeface="+mj-lt"/>
              </a:defRPr>
            </a:lvl2pPr>
            <a:lvl3pPr marL="135729" indent="0">
              <a:buNone/>
              <a:defRPr sz="1200" b="1">
                <a:solidFill>
                  <a:schemeClr val="bg1"/>
                </a:solidFill>
                <a:latin typeface="+mj-lt"/>
              </a:defRPr>
            </a:lvl3pPr>
            <a:lvl4pPr marL="280980" indent="0">
              <a:buNone/>
              <a:defRPr sz="1200" b="1">
                <a:solidFill>
                  <a:schemeClr val="bg1"/>
                </a:solidFill>
                <a:latin typeface="+mj-lt"/>
              </a:defRPr>
            </a:lvl4pPr>
            <a:lvl5pPr marL="485763" indent="0">
              <a:buNone/>
              <a:defRPr sz="12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fr-FR"/>
              <a:t>Presentation</a:t>
            </a:r>
            <a:br>
              <a:rPr lang="fr-FR"/>
            </a:br>
            <a:r>
              <a:rPr lang="fr-FR" err="1"/>
              <a:t>tit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39644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Espace réservé pour une image  3">
            <a:extLst>
              <a:ext uri="{FF2B5EF4-FFF2-40B4-BE49-F238E27FC236}">
                <a16:creationId xmlns:a16="http://schemas.microsoft.com/office/drawing/2014/main" id="{1304AD92-A926-4829-A590-C49B112E415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768829" y="314326"/>
            <a:ext cx="907256" cy="907256"/>
          </a:xfrm>
          <a:prstGeom prst="rect">
            <a:avLst/>
          </a:prstGeom>
        </p:spPr>
        <p:txBody>
          <a:bodyPr tIns="14400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ent/Partner logo her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23C40BE-7E5F-40E5-913E-F5D6D2331811}"/>
              </a:ext>
            </a:extLst>
          </p:cNvPr>
          <p:cNvSpPr/>
          <p:nvPr userDrawn="1"/>
        </p:nvSpPr>
        <p:spPr>
          <a:xfrm>
            <a:off x="467915" y="4753183"/>
            <a:ext cx="282179" cy="179162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0" tIns="27000" rIns="27000" bIns="27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050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8D6B6DE-2673-44A2-9901-4A07D74E7965}"/>
              </a:ext>
            </a:extLst>
          </p:cNvPr>
          <p:cNvSpPr txBox="1">
            <a:spLocks/>
          </p:cNvSpPr>
          <p:nvPr userDrawn="1"/>
        </p:nvSpPr>
        <p:spPr>
          <a:xfrm>
            <a:off x="487561" y="4756756"/>
            <a:ext cx="242888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lag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36AF437-7EEF-4E82-AC7D-64037FD7A3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14388" y="4781365"/>
            <a:ext cx="1203722" cy="1615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4pPr>
              <a:defRPr/>
            </a:lvl4pPr>
          </a:lstStyle>
          <a:p>
            <a:pPr lvl="3"/>
            <a:r>
              <a:rPr lang="en-US" noProof="0"/>
              <a:t>Country</a:t>
            </a:r>
          </a:p>
        </p:txBody>
      </p:sp>
    </p:spTree>
    <p:extLst>
      <p:ext uri="{BB962C8B-B14F-4D97-AF65-F5344CB8AC3E}">
        <p14:creationId xmlns:p14="http://schemas.microsoft.com/office/powerpoint/2010/main" val="4013177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C64460E9-3960-4663-9C04-E604D9C5C25C}" type="datetime1">
              <a:rPr lang="fr-FR" smtClean="0"/>
              <a:t>25/05/2021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A45125E-0652-2949-9C13-9BEABBF24A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7168" y="100868"/>
            <a:ext cx="3528392" cy="4358602"/>
          </a:xfrm>
          <a:prstGeom prst="rect">
            <a:avLst/>
          </a:prstGeom>
        </p:spPr>
      </p:pic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F167D284-AE4E-43CD-B494-15B526CA4D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572000" y="2730169"/>
            <a:ext cx="3240000" cy="900000"/>
          </a:xfrm>
          <a:prstGeom prst="rect">
            <a:avLst/>
          </a:prstGeom>
        </p:spPr>
        <p:txBody>
          <a:bodyPr anchor="t" anchorCtr="0"/>
          <a:lstStyle>
            <a:defPPr>
              <a:defRPr lang="fr-FR"/>
            </a:defPPr>
            <a:lvl1pPr marL="0" algn="l" defTabSz="914400" rtl="0" eaLnBrk="1" latinLnBrk="0" hangingPunct="1"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sz="2000" b="0"/>
          </a:p>
        </p:txBody>
      </p:sp>
      <p:sp>
        <p:nvSpPr>
          <p:cNvPr id="10" name="Espace réservé du pied de page 7">
            <a:extLst>
              <a:ext uri="{FF2B5EF4-FFF2-40B4-BE49-F238E27FC236}">
                <a16:creationId xmlns:a16="http://schemas.microsoft.com/office/drawing/2014/main" id="{FC35A7FC-DDAF-43AB-A1B6-E65C401E1596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572000" y="1350108"/>
            <a:ext cx="3893820" cy="2604671"/>
          </a:xfrm>
        </p:spPr>
        <p:txBody>
          <a:bodyPr anchor="t"/>
          <a:lstStyle/>
          <a:p>
            <a:r>
              <a:rPr lang="fr-FR" sz="3200" b="1"/>
              <a:t>COLIBRIS Mode opératoire Enseignant </a:t>
            </a:r>
            <a:endParaRPr lang="fr-FR" sz="1800"/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AE0E2217-CD0D-47C8-8B73-A11149370566}"/>
              </a:ext>
            </a:extLst>
          </p:cNvPr>
          <p:cNvCxnSpPr/>
          <p:nvPr userDrawn="1"/>
        </p:nvCxnSpPr>
        <p:spPr>
          <a:xfrm>
            <a:off x="4389120" y="1470660"/>
            <a:ext cx="0" cy="19583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6453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582782"/>
            <a:ext cx="8424000" cy="2077200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1B986CE4-310D-D84E-9681-9DD8568C671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9512" y="123478"/>
            <a:ext cx="1908000" cy="2361150"/>
          </a:xfrm>
          <a:prstGeom prst="rect">
            <a:avLst/>
          </a:prstGeom>
        </p:spPr>
      </p:pic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568F140-6993-4A23-A663-F410A4A84144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6" name="Espace réservé du pied de page 2">
            <a:extLst>
              <a:ext uri="{FF2B5EF4-FFF2-40B4-BE49-F238E27FC236}">
                <a16:creationId xmlns:a16="http://schemas.microsoft.com/office/drawing/2014/main" id="{4F1E733E-A0A0-4412-8CBC-C27828E1B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17" name="Espace réservé de la date 2">
            <a:extLst>
              <a:ext uri="{FF2B5EF4-FFF2-40B4-BE49-F238E27FC236}">
                <a16:creationId xmlns:a16="http://schemas.microsoft.com/office/drawing/2014/main" id="{3A92B3F7-62CF-44BE-A25D-98F79E227E64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2614A38C-BB8F-4EB1-8098-675DABAAFE34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790203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1135582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212755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129182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129182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B18768F-67A3-4612-90C4-01A7C0401A7D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2" name="Espace réservé du pied de page 2">
            <a:extLst>
              <a:ext uri="{FF2B5EF4-FFF2-40B4-BE49-F238E27FC236}">
                <a16:creationId xmlns:a16="http://schemas.microsoft.com/office/drawing/2014/main" id="{7160233C-46B1-4EC6-A949-5C805BD85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13" name="Espace réservé de la date 2">
            <a:extLst>
              <a:ext uri="{FF2B5EF4-FFF2-40B4-BE49-F238E27FC236}">
                <a16:creationId xmlns:a16="http://schemas.microsoft.com/office/drawing/2014/main" id="{3B0890E3-849C-469C-992F-F9EE271D7DCA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F5306A20-94EA-48CE-AE47-E1AF9C80391A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12446379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059582"/>
            <a:ext cx="9144000" cy="4084818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81488DA-3335-4AE6-B5E9-2E9338041EF9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5" name="Espace réservé du pied de page 2">
            <a:extLst>
              <a:ext uri="{FF2B5EF4-FFF2-40B4-BE49-F238E27FC236}">
                <a16:creationId xmlns:a16="http://schemas.microsoft.com/office/drawing/2014/main" id="{7508C36A-1825-4D0B-A8F1-9C50193E9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16" name="Espace réservé de la date 2">
            <a:extLst>
              <a:ext uri="{FF2B5EF4-FFF2-40B4-BE49-F238E27FC236}">
                <a16:creationId xmlns:a16="http://schemas.microsoft.com/office/drawing/2014/main" id="{D579554F-AD46-413F-9F08-62FD3B0C448A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FF504B11-747A-4CF6-955B-D5A36024369E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10392138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1149982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A86EABB-BE52-4065-9137-ED7D4DF76B66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5" name="Espace réservé du pied de page 2">
            <a:extLst>
              <a:ext uri="{FF2B5EF4-FFF2-40B4-BE49-F238E27FC236}">
                <a16:creationId xmlns:a16="http://schemas.microsoft.com/office/drawing/2014/main" id="{A2070A1C-EA91-4736-BD6F-590722ED0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16" name="Espace réservé de la date 2">
            <a:extLst>
              <a:ext uri="{FF2B5EF4-FFF2-40B4-BE49-F238E27FC236}">
                <a16:creationId xmlns:a16="http://schemas.microsoft.com/office/drawing/2014/main" id="{B06FFE37-1DAF-4D4C-B120-900B89237614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6617C150-4255-496A-A135-E03B5872F973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12129589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43267" y="630196"/>
            <a:ext cx="7676883" cy="254977"/>
          </a:xfrm>
          <a:prstGeom prst="rect">
            <a:avLst/>
          </a:prstGeom>
        </p:spPr>
        <p:txBody>
          <a:bodyPr rIns="36000" anchor="t" anchorCtr="0">
            <a:no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>
              <a:spcBef>
                <a:spcPts val="0"/>
              </a:spcBef>
              <a:buClr>
                <a:schemeClr val="bg1"/>
              </a:buClr>
              <a:buSzPct val="25000"/>
              <a:buFont typeface="Arial" pitchFamily="34" charset="0"/>
              <a:buNone/>
              <a:defRPr sz="1350" b="0">
                <a:solidFill>
                  <a:srgbClr val="4D4F53"/>
                </a:solidFill>
              </a:defRPr>
            </a:lvl2pPr>
            <a:lvl3pPr>
              <a:buFont typeface="Arial" pitchFamily="34" charset="0"/>
              <a:buChar char="•"/>
              <a:defRPr sz="1350"/>
            </a:lvl3pPr>
            <a:lvl4pPr>
              <a:buFont typeface="Arial" pitchFamily="34" charset="0"/>
              <a:buChar char="•"/>
              <a:defRPr sz="1350"/>
            </a:lvl4pPr>
            <a:lvl5pPr>
              <a:buFont typeface="Arial" pitchFamily="34" charset="0"/>
              <a:buChar char="•"/>
              <a:defRPr sz="1350"/>
            </a:lvl5pPr>
          </a:lstStyle>
          <a:p>
            <a:pPr marL="0" lvl="0" indent="0" algn="l" defTabSz="342892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900"/>
              </a:spcAft>
              <a:buClr>
                <a:schemeClr val="bg1"/>
              </a:buClr>
              <a:buSzPct val="25000"/>
              <a:buFont typeface="Arial" pitchFamily="34" charset="0"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C76DD57-3FBB-4C79-A8A3-959D289071CA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93A73CB-78CF-4FC5-9842-828A8796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8080" y="187471"/>
            <a:ext cx="7900670" cy="442726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lang="en-US" sz="1800" b="1" kern="1200" baseline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5912F25E-B38C-427E-87F1-2853FB466FA7}"/>
              </a:ext>
            </a:extLst>
          </p:cNvPr>
          <p:cNvCxnSpPr/>
          <p:nvPr userDrawn="1"/>
        </p:nvCxnSpPr>
        <p:spPr bwMode="gray">
          <a:xfrm>
            <a:off x="360000" y="1060098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pied de page 2">
            <a:extLst>
              <a:ext uri="{FF2B5EF4-FFF2-40B4-BE49-F238E27FC236}">
                <a16:creationId xmlns:a16="http://schemas.microsoft.com/office/drawing/2014/main" id="{C89D8EAD-4A5A-4EEF-B94A-413FC88DE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9" name="Espace réservé de la date 2">
            <a:extLst>
              <a:ext uri="{FF2B5EF4-FFF2-40B4-BE49-F238E27FC236}">
                <a16:creationId xmlns:a16="http://schemas.microsoft.com/office/drawing/2014/main" id="{A1FB12B9-D7A2-4EF7-B94D-D543235407EC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875F9698-4776-4F28-A0A6-00DA7FC796C3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2099994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1149982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2085982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A86EABB-BE52-4065-9137-ED7D4DF76B66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5" name="Espace réservé du pied de page 2">
            <a:extLst>
              <a:ext uri="{FF2B5EF4-FFF2-40B4-BE49-F238E27FC236}">
                <a16:creationId xmlns:a16="http://schemas.microsoft.com/office/drawing/2014/main" id="{A2070A1C-EA91-4736-BD6F-590722ED07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 Mode opératoire Enseignant  </a:t>
            </a:r>
            <a:endParaRPr lang="fr-FR" b="0"/>
          </a:p>
        </p:txBody>
      </p:sp>
      <p:sp>
        <p:nvSpPr>
          <p:cNvPr id="16" name="Espace réservé de la date 2">
            <a:extLst>
              <a:ext uri="{FF2B5EF4-FFF2-40B4-BE49-F238E27FC236}">
                <a16:creationId xmlns:a16="http://schemas.microsoft.com/office/drawing/2014/main" id="{B06FFE37-1DAF-4D4C-B120-900B89237614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</a:lstStyle>
          <a:p>
            <a:pPr algn="r"/>
            <a:fld id="{6617C150-4255-496A-A135-E03B5872F973}" type="datetime1">
              <a:rPr lang="fr-FR" b="0" cap="all" smtClean="0"/>
              <a:t>25/05/2021</a:t>
            </a:fld>
            <a:endParaRPr lang="fr-FR" b="0" cap="all"/>
          </a:p>
        </p:txBody>
      </p:sp>
    </p:spTree>
    <p:extLst>
      <p:ext uri="{BB962C8B-B14F-4D97-AF65-F5344CB8AC3E}">
        <p14:creationId xmlns:p14="http://schemas.microsoft.com/office/powerpoint/2010/main" val="3840454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2070874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 1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42802" y="1202773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43635" y="1441741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2802" y="1962114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3635" y="2201082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3635" y="2730157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4468" y="2969125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42802" y="3497025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3635" y="3735993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990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able of content 2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FDF91A1-0D1F-47A1-B707-87F7766A7D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42802" y="1202773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30D64EEC-C3B5-4A23-92EA-CF93356DC2F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43635" y="1441741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1</a:t>
            </a:r>
            <a:endParaRPr lang="en-US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B976D4E9-5B84-4CAC-A23E-666C17350B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42802" y="1962114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746BFAF-7F4A-4423-BCBC-F47454F74E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43635" y="2201082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2</a:t>
            </a:r>
            <a:endParaRPr lang="en-US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D856B166-5A14-4258-92D7-56DA21CC3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43635" y="2730157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22A815E-7753-4117-A2E1-C138F3C534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44468" y="2969125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3</a:t>
            </a:r>
            <a:endParaRPr lang="en-US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83D0C14-CF19-4C55-BD77-AAB047DEE2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42802" y="3497025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F1235FAD-F3DC-4474-A100-B015E0B3A8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43635" y="3735993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4</a:t>
            </a:r>
            <a:endParaRPr lang="en-US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B2669DE0-3606-4AAE-9F68-19587FCD51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19246" y="1202773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94C78964-B812-4540-8490-8C0D2E05AD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20079" y="1441741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5</a:t>
            </a:r>
            <a:endParaRPr lang="en-US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2C539019-15E7-4F74-8BB3-8A96FC3842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20079" y="1962114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F9C2AA70-DDC7-43B4-8F61-ADE093B047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0913" y="2201082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6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73F9720C-74DD-4464-9C66-53A3DF4466C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19246" y="2730157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4587FA24-F49F-4450-AB68-07A54FEDF2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20079" y="2969125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7</a:t>
            </a:r>
            <a:endParaRPr lang="en-US"/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9E22A33F-4515-435B-94AD-5C9FD82366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9246" y="3497025"/>
            <a:ext cx="1629965" cy="170408"/>
          </a:xfrm>
        </p:spPr>
        <p:txBody>
          <a:bodyPr anchor="b"/>
          <a:lstStyle>
            <a:lvl1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GENDA</a:t>
            </a:r>
            <a:endParaRPr lang="en-US"/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93644506-7429-4946-9548-BD18F5883A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20079" y="3735993"/>
            <a:ext cx="1629965" cy="170408"/>
          </a:xfrm>
        </p:spPr>
        <p:txBody>
          <a:bodyPr anchor="b"/>
          <a:lstStyle>
            <a:lvl1pPr marL="0" indent="0" algn="l" defTabSz="342892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bg1"/>
              </a:buClr>
              <a:buSzPct val="25000"/>
              <a:buFont typeface="Verdana" pitchFamily="34" charset="0"/>
              <a:buNone/>
              <a:defRPr lang="en-US" sz="1200" b="0" kern="1200" noProof="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900" b="0" kern="1200" spc="225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oint 8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17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0278" y="428625"/>
            <a:ext cx="6510338" cy="430053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91275" y="1356123"/>
            <a:ext cx="2432378" cy="2431256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5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389616">
              <a:lnSpc>
                <a:spcPct val="120000"/>
              </a:lnSpc>
            </a:pPr>
            <a:r>
              <a:rPr lang="fr-FR"/>
              <a:t>Modifier les styles du texte du masqu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1560940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&amp; box Full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CD9725D-EA1E-4B70-B6EC-DB2F0E4A815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11622" cy="5157788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362D5DB-01A7-4F16-92C7-0A276E1D056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1622" y="1"/>
            <a:ext cx="2432378" cy="5143500"/>
          </a:xfr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288000" rIns="432000" bIns="28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500" dirty="0">
                <a:solidFill>
                  <a:schemeClr val="bg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 defTabSz="389616">
              <a:lnSpc>
                <a:spcPct val="120000"/>
              </a:lnSpc>
            </a:pPr>
            <a:r>
              <a:rPr lang="fr-FR"/>
              <a:t>Modifier les styles du texte du masque</a:t>
            </a:r>
          </a:p>
        </p:txBody>
      </p:sp>
      <p:pic>
        <p:nvPicPr>
          <p:cNvPr id="8" name="Graphic 22">
            <a:extLst>
              <a:ext uri="{FF2B5EF4-FFF2-40B4-BE49-F238E27FC236}">
                <a16:creationId xmlns:a16="http://schemas.microsoft.com/office/drawing/2014/main" id="{D3E182B2-FB0A-46A9-80B7-A0275EC8F0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3305" y="4795396"/>
            <a:ext cx="1032780" cy="165293"/>
          </a:xfrm>
          <a:prstGeom prst="rect">
            <a:avLst/>
          </a:prstGeom>
        </p:spPr>
      </p:pic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BC17497-73B2-4D20-84B9-E987FCC6630A}"/>
              </a:ext>
            </a:extLst>
          </p:cNvPr>
          <p:cNvSpPr txBox="1">
            <a:spLocks/>
          </p:cNvSpPr>
          <p:nvPr userDrawn="1"/>
        </p:nvSpPr>
        <p:spPr>
          <a:xfrm>
            <a:off x="4365790" y="4873760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675" noProof="0" smtClean="0">
                <a:solidFill>
                  <a:schemeClr val="bg1">
                    <a:lumMod val="75000"/>
                  </a:schemeClr>
                </a:solidFill>
              </a:rPr>
              <a:pPr algn="ctr"/>
              <a:t>‹N°›</a:t>
            </a:fld>
            <a:endParaRPr lang="en-US" sz="675" noProof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48C3EA0-9FBD-4E15-93D8-BA13F2A55A0A}"/>
              </a:ext>
            </a:extLst>
          </p:cNvPr>
          <p:cNvSpPr txBox="1">
            <a:spLocks/>
          </p:cNvSpPr>
          <p:nvPr userDrawn="1"/>
        </p:nvSpPr>
        <p:spPr>
          <a:xfrm>
            <a:off x="322158" y="4861746"/>
            <a:ext cx="2092854" cy="170408"/>
          </a:xfrm>
          <a:prstGeom prst="rect">
            <a:avLst/>
          </a:prstGeom>
          <a:ln>
            <a:noFill/>
          </a:ln>
        </p:spPr>
        <p:txBody>
          <a:bodyPr vert="horz"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675" kern="1200" baseline="0" noProof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Client Name here</a:t>
            </a:r>
          </a:p>
        </p:txBody>
      </p:sp>
    </p:spTree>
    <p:extLst>
      <p:ext uri="{BB962C8B-B14F-4D97-AF65-F5344CB8AC3E}">
        <p14:creationId xmlns:p14="http://schemas.microsoft.com/office/powerpoint/2010/main" val="1152042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1149982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2085982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6B67F35-C4CE-884A-BCCC-85D8E0EF90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23528" y="111016"/>
            <a:ext cx="648072" cy="801989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3B8552-C242-4098-8BA1-95D411275332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3" name="Espace réservé du pied de page 2">
            <a:extLst>
              <a:ext uri="{FF2B5EF4-FFF2-40B4-BE49-F238E27FC236}">
                <a16:creationId xmlns:a16="http://schemas.microsoft.com/office/drawing/2014/main" id="{CE98DF68-82CA-4F59-B21F-2D8EE1B95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 Mode opératoire Enseignant  </a:t>
            </a:r>
            <a:endParaRPr lang="fr-FR" sz="750"/>
          </a:p>
        </p:txBody>
      </p:sp>
      <p:sp>
        <p:nvSpPr>
          <p:cNvPr id="14" name="Espace réservé de la date 2">
            <a:extLst>
              <a:ext uri="{FF2B5EF4-FFF2-40B4-BE49-F238E27FC236}">
                <a16:creationId xmlns:a16="http://schemas.microsoft.com/office/drawing/2014/main" id="{74D43A0D-A2DD-4462-8299-25998E439BF3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sz="750" b="0"/>
            </a:lvl1pPr>
          </a:lstStyle>
          <a:p>
            <a:pPr algn="r"/>
            <a:fld id="{39207590-0FA0-4E9B-AFA5-5CBC182F7410}" type="datetime1">
              <a:rPr lang="fr-FR" sz="750" cap="all" smtClean="0"/>
              <a:t>25/05/2021</a:t>
            </a:fld>
            <a:endParaRPr lang="fr-FR" sz="750" cap="al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0" r:id="rId2"/>
    <p:sldLayoutId id="2147483811" r:id="rId3"/>
    <p:sldLayoutId id="2147483809" r:id="rId4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67916" y="1152526"/>
            <a:ext cx="8147447" cy="32039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67916" y="382111"/>
            <a:ext cx="8208169" cy="277001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943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</p:sldLayoutIdLst>
  <p:hf sldNum="0" hdr="0"/>
  <p:txStyles>
    <p:titleStyle>
      <a:lvl1pPr marL="0" indent="0" algn="l" defTabSz="342892" rtl="0" eaLnBrk="1" latinLnBrk="0" hangingPunct="1">
        <a:spcBef>
          <a:spcPct val="0"/>
        </a:spcBef>
        <a:spcAft>
          <a:spcPts val="0"/>
        </a:spcAft>
        <a:buFont typeface="Arial" pitchFamily="34" charset="0"/>
        <a:buNone/>
        <a:defRPr lang="fr-FR" sz="1800" b="1" kern="1200" baseline="0" smtClean="0">
          <a:solidFill>
            <a:schemeClr val="accent2">
              <a:lumMod val="75000"/>
            </a:schemeClr>
          </a:solidFill>
          <a:latin typeface="+mj-lt"/>
          <a:ea typeface="+mn-ea"/>
          <a:cs typeface="+mn-cs"/>
        </a:defRPr>
      </a:lvl1pPr>
    </p:titleStyle>
    <p:bodyStyle>
      <a:lvl1pPr marL="0" indent="0" algn="l" defTabSz="342892" rtl="0" eaLnBrk="1" latinLnBrk="0" hangingPunct="1">
        <a:lnSpc>
          <a:spcPct val="130000"/>
        </a:lnSpc>
        <a:spcBef>
          <a:spcPts val="0"/>
        </a:spcBef>
        <a:spcAft>
          <a:spcPts val="900"/>
        </a:spcAft>
        <a:buClr>
          <a:schemeClr val="bg1"/>
        </a:buClr>
        <a:buSzPct val="25000"/>
        <a:buFont typeface="Verdana" pitchFamily="34" charset="0"/>
        <a:buNone/>
        <a:defRPr kumimoji="0" lang="en-US" sz="900" b="0" i="0" u="none" strike="noStrike" kern="1200" cap="none" spc="0" normalizeH="0" baseline="0" noProof="0" dirty="0">
          <a:ln>
            <a:noFill/>
          </a:ln>
          <a:solidFill>
            <a:srgbClr val="000000"/>
          </a:solidFill>
          <a:effectLst/>
          <a:uLnTx/>
          <a:uFillTx/>
          <a:latin typeface="Calibri"/>
          <a:ea typeface="+mn-ea"/>
          <a:cs typeface="Segoe UI" panose="020B0502040204020203" pitchFamily="34" charset="0"/>
        </a:defRPr>
      </a:lvl1pPr>
      <a:lvl2pPr marL="133347" indent="-133347" algn="l" defTabSz="342892" rtl="0" eaLnBrk="1" latinLnBrk="0" hangingPunct="1">
        <a:lnSpc>
          <a:spcPct val="130000"/>
        </a:lnSpc>
        <a:spcBef>
          <a:spcPts val="0"/>
        </a:spcBef>
        <a:spcAft>
          <a:spcPts val="450"/>
        </a:spcAft>
        <a:buClr>
          <a:schemeClr val="accent1"/>
        </a:buClr>
        <a:buFont typeface="Arial" pitchFamily="34" charset="0"/>
        <a:buChar char="•"/>
        <a:defRPr lang="en-US" sz="900" b="0" kern="1200" noProof="0" dirty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71457" indent="-135728" algn="l" defTabSz="385754" rtl="0" eaLnBrk="1" latinLnBrk="0" hangingPunct="1">
        <a:lnSpc>
          <a:spcPct val="130000"/>
        </a:lnSpc>
        <a:spcBef>
          <a:spcPts val="0"/>
        </a:spcBef>
        <a:spcAft>
          <a:spcPts val="225"/>
        </a:spcAft>
        <a:buClr>
          <a:schemeClr val="bg1">
            <a:lumMod val="50000"/>
          </a:schemeClr>
        </a:buClr>
        <a:buSzPct val="50000"/>
        <a:buFont typeface="Montserrat" panose="020B0604020202020204" charset="0"/>
        <a:buChar char="►"/>
        <a:defRPr lang="en-US" sz="900" b="0" kern="1200" noProof="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402421" indent="-121441" algn="l" defTabSz="342892" rtl="0" eaLnBrk="1" latinLnBrk="0" hangingPunct="1">
        <a:spcBef>
          <a:spcPts val="225"/>
        </a:spcBef>
        <a:spcAft>
          <a:spcPts val="225"/>
        </a:spcAft>
        <a:buClr>
          <a:schemeClr val="tx1"/>
        </a:buClr>
        <a:buFont typeface="Courier New" pitchFamily="49" charset="0"/>
        <a:buChar char="o"/>
        <a:tabLst/>
        <a:defRPr lang="en-US" sz="1050" b="0" kern="1200" noProof="0" dirty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609585" indent="-123822" algn="l" defTabSz="342892" rtl="0" eaLnBrk="1" latinLnBrk="0" hangingPunct="1">
        <a:spcBef>
          <a:spcPts val="0"/>
        </a:spcBef>
        <a:buClr>
          <a:srgbClr val="D52B1E"/>
        </a:buClr>
        <a:buFont typeface="Calibri" pitchFamily="34" charset="0"/>
        <a:buChar char="-"/>
        <a:tabLst/>
        <a:defRPr lang="en-GB" sz="825" kern="1200" noProof="0">
          <a:solidFill>
            <a:srgbClr val="4D4F53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5">
          <p15:clr>
            <a:srgbClr val="F26B43"/>
          </p15:clr>
        </p15:guide>
        <p15:guide id="2" pos="54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1149982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2085982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6B67F35-C4CE-884A-BCCC-85D8E0EF901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528" y="111016"/>
            <a:ext cx="648072" cy="801989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A3B8552-C242-4098-8BA1-95D411275332}"/>
              </a:ext>
            </a:extLst>
          </p:cNvPr>
          <p:cNvSpPr txBox="1">
            <a:spLocks/>
          </p:cNvSpPr>
          <p:nvPr userDrawn="1"/>
        </p:nvSpPr>
        <p:spPr>
          <a:xfrm>
            <a:off x="55495" y="4884303"/>
            <a:ext cx="412423" cy="158395"/>
          </a:xfrm>
          <a:prstGeom prst="rect">
            <a:avLst/>
          </a:prstGeom>
          <a:ln>
            <a:noFill/>
          </a:ln>
        </p:spPr>
        <p:txBody>
          <a:bodyPr vert="horz" lIns="0" tIns="0" rIns="0" bIns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E997FAD-17BD-C54D-93FE-DA7D4A487AFB}" type="slidenum">
              <a:rPr lang="en-US" sz="750" noProof="0" smtClean="0">
                <a:solidFill>
                  <a:schemeClr val="tx1"/>
                </a:solidFill>
              </a:rPr>
              <a:pPr algn="ctr"/>
              <a:t>‹N°›</a:t>
            </a:fld>
            <a:endParaRPr lang="en-US" sz="750" noProof="0">
              <a:solidFill>
                <a:schemeClr val="tx1"/>
              </a:solidFill>
            </a:endParaRPr>
          </a:p>
        </p:txBody>
      </p:sp>
      <p:sp>
        <p:nvSpPr>
          <p:cNvPr id="13" name="Espace réservé du pied de page 2">
            <a:extLst>
              <a:ext uri="{FF2B5EF4-FFF2-40B4-BE49-F238E27FC236}">
                <a16:creationId xmlns:a16="http://schemas.microsoft.com/office/drawing/2014/main" id="{CE98DF68-82CA-4F59-B21F-2D8EE1B95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734518" y="4783500"/>
            <a:ext cx="5637400" cy="360000"/>
          </a:xfrm>
          <a:prstGeom prst="rect">
            <a:avLst/>
          </a:prstGeom>
        </p:spPr>
        <p:txBody>
          <a:bodyPr anchor="ctr"/>
          <a:lstStyle>
            <a:lvl1pPr>
              <a:defRPr sz="750" b="0">
                <a:solidFill>
                  <a:schemeClr val="tx1"/>
                </a:solidFill>
              </a:defRPr>
            </a:lvl1pPr>
          </a:lstStyle>
          <a:p>
            <a:r>
              <a:rPr lang="fr-FR"/>
              <a:t>COLIBRIS Mode opératoire Enseignant </a:t>
            </a:r>
            <a:endParaRPr lang="fr-FR" sz="750"/>
          </a:p>
        </p:txBody>
      </p:sp>
      <p:sp>
        <p:nvSpPr>
          <p:cNvPr id="14" name="Espace réservé de la date 2">
            <a:extLst>
              <a:ext uri="{FF2B5EF4-FFF2-40B4-BE49-F238E27FC236}">
                <a16:creationId xmlns:a16="http://schemas.microsoft.com/office/drawing/2014/main" id="{74D43A0D-A2DD-4462-8299-25998E439BF3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anchor="ctr"/>
          <a:lstStyle>
            <a:lvl1pPr>
              <a:defRPr sz="750" b="0"/>
            </a:lvl1pPr>
          </a:lstStyle>
          <a:p>
            <a:pPr algn="r"/>
            <a:fld id="{39207590-0FA0-4E9B-AFA5-5CBC182F7410}" type="datetime1">
              <a:rPr lang="fr-FR" sz="750" cap="all" smtClean="0"/>
              <a:t>25/05/2021</a:t>
            </a:fld>
            <a:endParaRPr lang="fr-FR" sz="750" cap="all"/>
          </a:p>
        </p:txBody>
      </p:sp>
    </p:spTree>
    <p:extLst>
      <p:ext uri="{BB962C8B-B14F-4D97-AF65-F5344CB8AC3E}">
        <p14:creationId xmlns:p14="http://schemas.microsoft.com/office/powerpoint/2010/main" val="3400817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5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38.xml"/><Relationship Id="rId4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44.xml"/><Relationship Id="rId7" Type="http://schemas.openxmlformats.org/officeDocument/2006/relationships/image" Target="../media/image25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28.png"/><Relationship Id="rId4" Type="http://schemas.openxmlformats.org/officeDocument/2006/relationships/tags" Target="../tags/tag45.xml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9.png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0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33.png"/><Relationship Id="rId5" Type="http://schemas.openxmlformats.org/officeDocument/2006/relationships/tags" Target="../tags/tag52.xml"/><Relationship Id="rId10" Type="http://schemas.openxmlformats.org/officeDocument/2006/relationships/image" Target="../media/image32.png"/><Relationship Id="rId4" Type="http://schemas.openxmlformats.org/officeDocument/2006/relationships/tags" Target="../tags/tag51.xml"/><Relationship Id="rId9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38.xml"/><Relationship Id="rId6" Type="http://schemas.openxmlformats.org/officeDocument/2006/relationships/slide" Target="slide13.xml"/><Relationship Id="rId5" Type="http://schemas.openxmlformats.org/officeDocument/2006/relationships/slide" Target="slide12.xml"/><Relationship Id="rId4" Type="http://schemas.openxmlformats.org/officeDocument/2006/relationships/slide" Target="slide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38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1.png"/><Relationship Id="rId5" Type="http://schemas.openxmlformats.org/officeDocument/2006/relationships/hyperlink" Target="mailto:xxx@ac-lille.fr" TargetMode="Externa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slideLayout" Target="../slideLayouts/slideLayout38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3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38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3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image" Target="../media/image21.png"/><Relationship Id="rId5" Type="http://schemas.openxmlformats.org/officeDocument/2006/relationships/tags" Target="../tags/tag26.xml"/><Relationship Id="rId10" Type="http://schemas.openxmlformats.org/officeDocument/2006/relationships/image" Target="../media/image20.png"/><Relationship Id="rId4" Type="http://schemas.openxmlformats.org/officeDocument/2006/relationships/tags" Target="../tags/tag25.xml"/><Relationship Id="rId9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23.png"/><Relationship Id="rId5" Type="http://schemas.openxmlformats.org/officeDocument/2006/relationships/tags" Target="../tags/tag34.xml"/><Relationship Id="rId10" Type="http://schemas.openxmlformats.org/officeDocument/2006/relationships/image" Target="../media/image22.png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4E880-FD61-4F74-AFFB-63CD68B36856}" type="datetime1">
              <a:rPr lang="fr-FR" smtClean="0"/>
              <a:t>25/05/2021</a:t>
            </a:fld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4540801" y="2099773"/>
            <a:ext cx="4224058" cy="360000"/>
          </a:xfrm>
          <a:noFill/>
        </p:spPr>
        <p:txBody>
          <a:bodyPr/>
          <a:lstStyle/>
          <a:p>
            <a:r>
              <a:rPr lang="fr-FR" sz="3200" b="1" dirty="0"/>
              <a:t>COLIBRIS </a:t>
            </a:r>
          </a:p>
          <a:p>
            <a:r>
              <a:rPr lang="fr-FR" sz="3200" b="1" dirty="0"/>
              <a:t>Mode opératoire Enseignant </a:t>
            </a:r>
          </a:p>
          <a:p>
            <a:endParaRPr lang="fr-FR" sz="3200" b="1" dirty="0">
              <a:highlight>
                <a:srgbClr val="FFFF00"/>
              </a:highlight>
            </a:endParaRPr>
          </a:p>
          <a:p>
            <a:r>
              <a:rPr lang="fr-FR" sz="1400" dirty="0"/>
              <a:t>VERSION </a:t>
            </a:r>
            <a:r>
              <a:rPr lang="fr-FR" sz="1400"/>
              <a:t>DU </a:t>
            </a:r>
            <a:r>
              <a:rPr lang="fr-FR" sz="1400" smtClean="0"/>
              <a:t>25/05/21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3578603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Echanger des commentaires ou des documents avec le gestionnaire de votre dossier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 </a:t>
            </a:r>
            <a:endParaRPr lang="fr-FR">
              <a:highlight>
                <a:srgbClr val="FFFF00"/>
              </a:highlight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34A3E7C-97A8-40B1-87BB-CBC2A34ADDC2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8" name="ZoneTexte 7"/>
          <p:cNvSpPr txBox="1"/>
          <p:nvPr/>
        </p:nvSpPr>
        <p:spPr>
          <a:xfrm>
            <a:off x="376798" y="1333277"/>
            <a:ext cx="2409791" cy="101566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0"/>
            </a:lvl1pPr>
          </a:lstStyle>
          <a:p>
            <a:r>
              <a:rPr lang="fr-FR"/>
              <a:t>     </a:t>
            </a:r>
            <a:r>
              <a:rPr lang="fr-FR" b="1"/>
              <a:t>Pour saisir des commentaires</a:t>
            </a:r>
            <a:r>
              <a:rPr lang="fr-FR"/>
              <a:t> à l’intention du gestionnaire de votre demande, veuillez </a:t>
            </a:r>
            <a:r>
              <a:rPr lang="fr-FR" b="1"/>
              <a:t>remplir du texte dans l’espace Observ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6798" y="2666999"/>
            <a:ext cx="2457144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fr-FR" sz="1200"/>
              <a:t>     Vous avez aussi la </a:t>
            </a:r>
            <a:r>
              <a:rPr lang="fr-FR" sz="1200" b="1"/>
              <a:t>possibilité de faire parvenir des pièces justificatives </a:t>
            </a:r>
            <a:r>
              <a:rPr lang="fr-FR" sz="1200"/>
              <a:t>au gestionnaire au cours de votre demande.</a:t>
            </a:r>
          </a:p>
          <a:p>
            <a:endParaRPr lang="fr-FR" sz="1200"/>
          </a:p>
          <a:p>
            <a:r>
              <a:rPr lang="fr-FR" sz="1200"/>
              <a:t>       Veillez à déposer uniquement des documents utiles à votre dossier.</a:t>
            </a:r>
          </a:p>
        </p:txBody>
      </p:sp>
      <p:sp>
        <p:nvSpPr>
          <p:cNvPr id="17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34127" y="1356939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1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34127" y="2695291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6"/>
          <a:srcRect b="23794"/>
          <a:stretch/>
        </p:blipFill>
        <p:spPr>
          <a:xfrm>
            <a:off x="3076076" y="1347169"/>
            <a:ext cx="5816614" cy="29205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ectangle 8"/>
          <p:cNvSpPr/>
          <p:nvPr/>
        </p:nvSpPr>
        <p:spPr>
          <a:xfrm>
            <a:off x="3223922" y="1368396"/>
            <a:ext cx="684000" cy="194733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0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797753" y="122648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236919" y="2381759"/>
            <a:ext cx="2952000" cy="194733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8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080110" y="224973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246" y="3501358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9080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21" name="Image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316" y="975563"/>
            <a:ext cx="2075054" cy="4032429"/>
          </a:xfrm>
          <a:prstGeom prst="rect">
            <a:avLst/>
          </a:prstGeom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3 / Valider l’envoi du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53F0435-617B-4155-A368-87E382743549}" type="datetime1">
              <a:rPr lang="fr-FR" b="0" cap="all" smtClean="0"/>
              <a:t>25/05/2021</a:t>
            </a:fld>
            <a:endParaRPr lang="fr-FR" b="0" cap="all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8"/>
          <a:srcRect t="18398"/>
          <a:stretch/>
        </p:blipFill>
        <p:spPr>
          <a:xfrm>
            <a:off x="3423656" y="4361701"/>
            <a:ext cx="2555042" cy="4581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Ellipse 15"/>
          <p:cNvSpPr/>
          <p:nvPr/>
        </p:nvSpPr>
        <p:spPr>
          <a:xfrm>
            <a:off x="2653990" y="840059"/>
            <a:ext cx="914400" cy="9144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64210" y="1092631"/>
            <a:ext cx="1673817" cy="666427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2623" y="4602997"/>
            <a:ext cx="1673817" cy="183396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72" y="1272772"/>
            <a:ext cx="333083" cy="333083"/>
          </a:xfrm>
          <a:prstGeom prst="rect">
            <a:avLst/>
          </a:prstGeom>
        </p:spPr>
      </p:pic>
      <p:cxnSp>
        <p:nvCxnSpPr>
          <p:cNvPr id="33" name="Connecteur droit avec flèche 32"/>
          <p:cNvCxnSpPr/>
          <p:nvPr/>
        </p:nvCxnSpPr>
        <p:spPr>
          <a:xfrm>
            <a:off x="2053841" y="1418095"/>
            <a:ext cx="720000" cy="0"/>
          </a:xfrm>
          <a:prstGeom prst="straightConnector1">
            <a:avLst/>
          </a:prstGeom>
          <a:ln w="28575">
            <a:solidFill>
              <a:srgbClr val="8E8ED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/>
          <p:cNvCxnSpPr/>
          <p:nvPr/>
        </p:nvCxnSpPr>
        <p:spPr>
          <a:xfrm flipV="1">
            <a:off x="2084521" y="4690897"/>
            <a:ext cx="1260000" cy="0"/>
          </a:xfrm>
          <a:prstGeom prst="straightConnector1">
            <a:avLst/>
          </a:prstGeom>
          <a:ln w="28575">
            <a:solidFill>
              <a:srgbClr val="8E8ED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54" y="4537723"/>
            <a:ext cx="333083" cy="333083"/>
          </a:xfrm>
          <a:prstGeom prst="rect">
            <a:avLst/>
          </a:prstGeom>
        </p:spPr>
      </p:pic>
      <p:sp>
        <p:nvSpPr>
          <p:cNvPr id="40" name="ZoneTexte 39"/>
          <p:cNvSpPr txBox="1"/>
          <p:nvPr/>
        </p:nvSpPr>
        <p:spPr>
          <a:xfrm>
            <a:off x="6768435" y="1166630"/>
            <a:ext cx="2107935" cy="360098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1"/>
            </a:lvl1pPr>
          </a:lstStyle>
          <a:p>
            <a:r>
              <a:rPr lang="fr-FR" b="0"/>
              <a:t>     Sur la dernière page du formulaire,</a:t>
            </a:r>
            <a:r>
              <a:rPr lang="fr-FR"/>
              <a:t> un récapitulatif de toutes les informations transmises est proposé avant validation. </a:t>
            </a:r>
          </a:p>
          <a:p>
            <a:endParaRPr lang="fr-FR"/>
          </a:p>
          <a:p>
            <a:endParaRPr lang="fr-FR"/>
          </a:p>
          <a:p>
            <a:endParaRPr lang="fr-FR"/>
          </a:p>
          <a:p>
            <a:r>
              <a:rPr lang="fr-FR"/>
              <a:t>Après avoir effectué une dernière relecture </a:t>
            </a:r>
            <a:r>
              <a:rPr lang="fr-FR" b="0"/>
              <a:t>du contenu de votre formulaire, </a:t>
            </a:r>
            <a:r>
              <a:rPr lang="fr-FR"/>
              <a:t>cliquez sur « Valider </a:t>
            </a:r>
            <a:r>
              <a:rPr lang="fr-FR" b="0"/>
              <a:t>». </a:t>
            </a:r>
          </a:p>
          <a:p>
            <a:endParaRPr lang="fr-FR" b="0"/>
          </a:p>
          <a:p>
            <a:endParaRPr lang="fr-FR" b="0"/>
          </a:p>
          <a:p>
            <a:r>
              <a:rPr lang="fr-FR" b="0"/>
              <a:t>Votre dossier </a:t>
            </a:r>
            <a:r>
              <a:rPr lang="fr-FR"/>
              <a:t>sera alors dans l’attente d’une prise en charge par un gestionnaire </a:t>
            </a:r>
            <a:r>
              <a:rPr lang="fr-FR" b="0"/>
              <a:t>de votre académie.</a:t>
            </a:r>
            <a:endParaRPr lang="fr-FR"/>
          </a:p>
        </p:txBody>
      </p:sp>
      <p:sp>
        <p:nvSpPr>
          <p:cNvPr id="42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842763" y="1207215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43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00247" y="4455483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4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8533528" y="3222076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5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17109" y="961436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grpSp>
        <p:nvGrpSpPr>
          <p:cNvPr id="11" name="Groupe 10"/>
          <p:cNvGrpSpPr/>
          <p:nvPr/>
        </p:nvGrpSpPr>
        <p:grpSpPr>
          <a:xfrm>
            <a:off x="2798777" y="1124233"/>
            <a:ext cx="3804800" cy="2164863"/>
            <a:chOff x="2694868" y="1214287"/>
            <a:chExt cx="3804800" cy="2164863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694868" y="1214287"/>
              <a:ext cx="3804800" cy="216486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Rectangle 9"/>
            <p:cNvSpPr/>
            <p:nvPr/>
          </p:nvSpPr>
          <p:spPr>
            <a:xfrm>
              <a:off x="4132250" y="1542614"/>
              <a:ext cx="879500" cy="237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44807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4 / Récupérer le code de suivi de traitement de la demand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B88017A-CDAD-4CBD-AA81-3C73193DCA41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0" name="ZoneTexte 9"/>
          <p:cNvSpPr txBox="1"/>
          <p:nvPr/>
        </p:nvSpPr>
        <p:spPr>
          <a:xfrm>
            <a:off x="6110514" y="1545770"/>
            <a:ext cx="2837543" cy="230832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1"/>
            </a:lvl1pPr>
          </a:lstStyle>
          <a:p>
            <a:r>
              <a:rPr lang="fr-FR" b="0"/>
              <a:t>     Lorsque vous soumettez votre formulaire, </a:t>
            </a:r>
            <a:r>
              <a:rPr lang="fr-FR"/>
              <a:t>un mail contenant le code de suivi de votre dossier sera automatiquement envoyé</a:t>
            </a:r>
            <a:r>
              <a:rPr lang="fr-FR" b="0"/>
              <a:t> à l’adresse renseignée lors de votre connexion. Ce code de suivi facilitera le suivi de votre dossier jusqu’à sa clôture.</a:t>
            </a:r>
          </a:p>
          <a:p>
            <a:endParaRPr lang="fr-FR" b="0"/>
          </a:p>
          <a:p>
            <a:r>
              <a:rPr lang="fr-FR" b="0"/>
              <a:t>      Ce </a:t>
            </a:r>
            <a:r>
              <a:rPr lang="fr-FR"/>
              <a:t>mail contient aussi un récapitulatif complet de votre demande qu’il est possible d’imprimer.</a:t>
            </a:r>
          </a:p>
        </p:txBody>
      </p:sp>
      <p:grpSp>
        <p:nvGrpSpPr>
          <p:cNvPr id="12" name="Groupe 11"/>
          <p:cNvGrpSpPr/>
          <p:nvPr/>
        </p:nvGrpSpPr>
        <p:grpSpPr>
          <a:xfrm>
            <a:off x="248450" y="1545770"/>
            <a:ext cx="5499208" cy="2308324"/>
            <a:chOff x="1794220" y="1173813"/>
            <a:chExt cx="5555561" cy="2505558"/>
          </a:xfrm>
        </p:grpSpPr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94220" y="1173813"/>
              <a:ext cx="5555561" cy="250555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8" name="Rectangle 7"/>
            <p:cNvSpPr/>
            <p:nvPr/>
          </p:nvSpPr>
          <p:spPr>
            <a:xfrm>
              <a:off x="3316737" y="3091541"/>
              <a:ext cx="800116" cy="210459"/>
            </a:xfrm>
            <a:prstGeom prst="rect">
              <a:avLst/>
            </a:prstGeom>
            <a:noFill/>
            <a:ln>
              <a:solidFill>
                <a:srgbClr val="8E8E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tx1"/>
                </a:solidFill>
              </a:endParaRPr>
            </a:p>
          </p:txBody>
        </p:sp>
      </p:grpSp>
      <p:sp>
        <p:nvSpPr>
          <p:cNvPr id="13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195522" y="1578464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4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592550" y="345233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6847" y="2951829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83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8" name="Image 7"/>
          <p:cNvPicPr>
            <a:picLocks/>
          </p:cNvPicPr>
          <p:nvPr/>
        </p:nvPicPr>
        <p:blipFill rotWithShape="1">
          <a:blip r:embed="rId8"/>
          <a:srcRect l="3958" r="2209" b="5688"/>
          <a:stretch/>
        </p:blipFill>
        <p:spPr>
          <a:xfrm>
            <a:off x="4704236" y="2496776"/>
            <a:ext cx="4239042" cy="2089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Utiliser le code de suivi pour suivre sa demande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5 / Suivre ma demande de recours </a:t>
            </a:r>
          </a:p>
        </p:txBody>
      </p:sp>
      <p:sp>
        <p:nvSpPr>
          <p:cNvPr id="21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79C8C47-718F-4027-9CEE-871B778D232A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1" name="ZoneTexte 10"/>
          <p:cNvSpPr txBox="1"/>
          <p:nvPr/>
        </p:nvSpPr>
        <p:spPr>
          <a:xfrm>
            <a:off x="4739425" y="1215548"/>
            <a:ext cx="4198513" cy="120032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0"/>
            </a:lvl1pPr>
          </a:lstStyle>
          <a:p>
            <a:r>
              <a:rPr lang="fr-FR" b="1" dirty="0"/>
              <a:t>           Une fois votre dossier soumis</a:t>
            </a:r>
            <a:r>
              <a:rPr lang="fr-FR" dirty="0"/>
              <a:t>, vous pouvez y</a:t>
            </a:r>
          </a:p>
          <a:p>
            <a:r>
              <a:rPr lang="fr-FR" dirty="0"/>
              <a:t>           </a:t>
            </a:r>
            <a:r>
              <a:rPr lang="fr-FR" b="1" dirty="0"/>
              <a:t>accéder à tout moment grâce au code de suivi </a:t>
            </a:r>
            <a:r>
              <a:rPr lang="fr-FR" dirty="0"/>
              <a:t>qui vous a été communiqué par mail.</a:t>
            </a:r>
          </a:p>
          <a:p>
            <a:r>
              <a:rPr lang="fr-FR" dirty="0"/>
              <a:t>Par ailleurs, tant que le dossier n’a pas encore été pris en charge par le gestionnaire, vous pouvez encore y apporter des modifications.</a:t>
            </a:r>
          </a:p>
        </p:txBody>
      </p:sp>
      <p:sp>
        <p:nvSpPr>
          <p:cNvPr id="7" name="Rectangle 6"/>
          <p:cNvSpPr/>
          <p:nvPr/>
        </p:nvSpPr>
        <p:spPr>
          <a:xfrm>
            <a:off x="6690987" y="2828855"/>
            <a:ext cx="504000" cy="166914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9"/>
          <a:srcRect l="5840" t="3466" r="1724"/>
          <a:stretch/>
        </p:blipFill>
        <p:spPr>
          <a:xfrm>
            <a:off x="243537" y="1256439"/>
            <a:ext cx="4224587" cy="32886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ctangle 11"/>
          <p:cNvSpPr/>
          <p:nvPr/>
        </p:nvSpPr>
        <p:spPr>
          <a:xfrm>
            <a:off x="348874" y="4048773"/>
            <a:ext cx="900000" cy="166914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3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199779" y="3913315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4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7112197" y="267976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240" y="1258443"/>
            <a:ext cx="360000" cy="360000"/>
          </a:xfrm>
          <a:prstGeom prst="rect">
            <a:avLst/>
          </a:prstGeom>
        </p:spPr>
      </p:pic>
      <p:sp>
        <p:nvSpPr>
          <p:cNvPr id="17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7326936" y="1617574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9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034537" y="2152100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615403" y="4052419"/>
            <a:ext cx="873450" cy="230103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8" name="1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6424889" y="3931374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11"/>
          <a:srcRect t="10389" b="8964"/>
          <a:stretch/>
        </p:blipFill>
        <p:spPr>
          <a:xfrm>
            <a:off x="241493" y="1256372"/>
            <a:ext cx="4226429" cy="796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1185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334537" y="1375317"/>
            <a:ext cx="4148255" cy="33007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Objectif du document et table des matièr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4961FAF7-0C96-4D75-AB4F-7220A2EF4557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7" name="Rectangle 6"/>
          <p:cNvSpPr/>
          <p:nvPr/>
        </p:nvSpPr>
        <p:spPr>
          <a:xfrm>
            <a:off x="430254" y="1596822"/>
            <a:ext cx="4000498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/>
              <a:t>Ce document est </a:t>
            </a:r>
            <a:r>
              <a:rPr lang="fr-FR" sz="1400" b="1"/>
              <a:t>à destination des personnels enseignants du second degré </a:t>
            </a:r>
            <a:r>
              <a:rPr lang="fr-FR" sz="1400"/>
              <a:t>souhaitant effectuer une démarche de recours contre un mouvement intra-académique.</a:t>
            </a:r>
          </a:p>
          <a:p>
            <a:endParaRPr lang="fr-FR" sz="1400"/>
          </a:p>
          <a:p>
            <a:r>
              <a:rPr lang="fr-FR" sz="1400"/>
              <a:t>Ce document permet également de </a:t>
            </a:r>
            <a:r>
              <a:rPr lang="fr-FR" sz="1400" b="1"/>
              <a:t>faciliter la prise en main de l’outil COLIBRIS et de sa fonctionnalité « Gestion des recours dans le cadre du mouvement intra académique »</a:t>
            </a:r>
            <a:r>
              <a:rPr lang="fr-FR" sz="1400"/>
              <a:t>. </a:t>
            </a:r>
          </a:p>
          <a:p>
            <a:endParaRPr lang="fr-FR" sz="1400"/>
          </a:p>
          <a:p>
            <a:r>
              <a:rPr lang="fr-FR" sz="1400"/>
              <a:t>En cas de questions sur le document, vous pouvez contacter votre service de gestion via votre canal habituel.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801065" y="1336627"/>
            <a:ext cx="4148255" cy="3300761"/>
          </a:xfrm>
          <a:prstGeom prst="round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4819650" y="1694985"/>
            <a:ext cx="4111084" cy="26776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fr-FR" sz="1400" b="1">
                <a:solidFill>
                  <a:srgbClr val="8E8ED5"/>
                </a:solidFill>
              </a:rPr>
              <a:t>1/ </a:t>
            </a:r>
            <a:r>
              <a:rPr lang="fr-FR" sz="1400">
                <a:hlinkClick r:id="rId2" action="ppaction://hlinksldjump"/>
              </a:rPr>
              <a:t>Se connecter à la plateforme</a:t>
            </a:r>
            <a:endParaRPr lang="fr-FR" sz="1400"/>
          </a:p>
          <a:p>
            <a:pPr>
              <a:lnSpc>
                <a:spcPct val="200000"/>
              </a:lnSpc>
            </a:pPr>
            <a:r>
              <a:rPr lang="fr-FR" sz="1400" b="1">
                <a:solidFill>
                  <a:srgbClr val="8E8ED5"/>
                </a:solidFill>
              </a:rPr>
              <a:t>2/ </a:t>
            </a:r>
            <a:r>
              <a:rPr lang="fr-FR" sz="1400">
                <a:hlinkClick r:id="rId3" action="ppaction://hlinksldjump"/>
              </a:rPr>
              <a:t>Remplir le formulaire</a:t>
            </a:r>
            <a:endParaRPr lang="fr-FR" sz="1400"/>
          </a:p>
          <a:p>
            <a:pPr>
              <a:lnSpc>
                <a:spcPct val="200000"/>
              </a:lnSpc>
            </a:pPr>
            <a:r>
              <a:rPr lang="fr-FR" sz="1400" b="1">
                <a:solidFill>
                  <a:srgbClr val="8E8ED5"/>
                </a:solidFill>
              </a:rPr>
              <a:t>3/ </a:t>
            </a:r>
            <a:r>
              <a:rPr lang="fr-FR" sz="1400">
                <a:hlinkClick r:id="rId4" action="ppaction://hlinksldjump"/>
              </a:rPr>
              <a:t>Valider l’envoi du formulaire</a:t>
            </a:r>
            <a:endParaRPr lang="fr-FR" sz="1400"/>
          </a:p>
          <a:p>
            <a:pPr>
              <a:lnSpc>
                <a:spcPct val="200000"/>
              </a:lnSpc>
            </a:pPr>
            <a:r>
              <a:rPr lang="fr-FR" sz="1400" b="1">
                <a:solidFill>
                  <a:srgbClr val="8E8ED5"/>
                </a:solidFill>
              </a:rPr>
              <a:t>4/ </a:t>
            </a:r>
            <a:r>
              <a:rPr lang="fr-FR" sz="1400">
                <a:hlinkClick r:id="rId5" action="ppaction://hlinksldjump"/>
              </a:rPr>
              <a:t>Récupérer le code de suivi de traitement de la demande</a:t>
            </a:r>
            <a:endParaRPr lang="fr-FR" sz="1400"/>
          </a:p>
          <a:p>
            <a:pPr>
              <a:lnSpc>
                <a:spcPct val="200000"/>
              </a:lnSpc>
            </a:pPr>
            <a:r>
              <a:rPr lang="fr-FR" sz="1400" b="1">
                <a:solidFill>
                  <a:srgbClr val="8E8ED5"/>
                </a:solidFill>
              </a:rPr>
              <a:t>5/ </a:t>
            </a:r>
            <a:r>
              <a:rPr lang="fr-FR" sz="1400">
                <a:hlinkClick r:id="rId6" action="ppaction://hlinksldjump"/>
              </a:rPr>
              <a:t>Suivre ma demande de recours</a:t>
            </a:r>
            <a:endParaRPr lang="fr-FR" sz="1400"/>
          </a:p>
        </p:txBody>
      </p:sp>
      <p:sp>
        <p:nvSpPr>
          <p:cNvPr id="12" name="ZoneTexte 11"/>
          <p:cNvSpPr txBox="1"/>
          <p:nvPr/>
        </p:nvSpPr>
        <p:spPr>
          <a:xfrm>
            <a:off x="5696880" y="1338146"/>
            <a:ext cx="23566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>
                <a:solidFill>
                  <a:srgbClr val="8E8ED5"/>
                </a:solidFill>
              </a:rPr>
              <a:t>Table des matières</a:t>
            </a:r>
          </a:p>
        </p:txBody>
      </p:sp>
    </p:spTree>
    <p:extLst>
      <p:ext uri="{BB962C8B-B14F-4D97-AF65-F5344CB8AC3E}">
        <p14:creationId xmlns:p14="http://schemas.microsoft.com/office/powerpoint/2010/main" val="527790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7911" y="1071034"/>
            <a:ext cx="4539153" cy="37169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Accéder à la plateforme de démarches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1 / Se connecter à la plateform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709118" y="4783500"/>
            <a:ext cx="5637400" cy="360000"/>
          </a:xfrm>
        </p:spPr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D03D486-CB3C-456F-9222-C21820C6162C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3" name="ZoneTexte 12"/>
          <p:cNvSpPr txBox="1"/>
          <p:nvPr/>
        </p:nvSpPr>
        <p:spPr>
          <a:xfrm>
            <a:off x="5266266" y="1117600"/>
            <a:ext cx="3642721" cy="3416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r>
              <a:rPr lang="fr-FR" dirty="0"/>
              <a:t>   Pour lancer votre démarche de recours; rendez-vous sur le lien suivant:</a:t>
            </a:r>
          </a:p>
          <a:p>
            <a:endParaRPr lang="fr-FR" dirty="0"/>
          </a:p>
          <a:p>
            <a:pPr algn="ctr"/>
            <a:r>
              <a:rPr lang="fr-FR" i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(à préciser par l’académie)</a:t>
            </a:r>
          </a:p>
          <a:p>
            <a:pPr algn="ctr"/>
            <a:endParaRPr lang="fr-FR" dirty="0"/>
          </a:p>
          <a:p>
            <a:endParaRPr lang="fr-FR" dirty="0"/>
          </a:p>
          <a:p>
            <a:r>
              <a:rPr lang="fr-FR" dirty="0"/>
              <a:t>Sur l’espace « Personnels du second degré »     ,</a:t>
            </a:r>
          </a:p>
          <a:p>
            <a:r>
              <a:rPr lang="fr-FR" dirty="0"/>
              <a:t>Vous pourrez initier votre démarche en cliquant sur</a:t>
            </a:r>
          </a:p>
          <a:p>
            <a:r>
              <a:rPr lang="fr-FR" i="1" dirty="0"/>
              <a:t>« Recours suite à la notification de l’affectation obtenue à l’issue du mouvement intra-académique 2021 ». 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       Depuis cette page, vous pourrez aussi suivre votre dossier en cours grâce au code de suivi qui vous aura été communiqué automatiquement par mail.</a:t>
            </a:r>
          </a:p>
          <a:p>
            <a:endParaRPr lang="fr-FR" dirty="0"/>
          </a:p>
        </p:txBody>
      </p:sp>
      <p:sp>
        <p:nvSpPr>
          <p:cNvPr id="10" name="Rectangle 9"/>
          <p:cNvSpPr/>
          <p:nvPr/>
        </p:nvSpPr>
        <p:spPr>
          <a:xfrm>
            <a:off x="3618984" y="1071398"/>
            <a:ext cx="1040781" cy="267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71240" y="1687551"/>
            <a:ext cx="1211766" cy="304800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91063" y="4367049"/>
            <a:ext cx="3022186" cy="429215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8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184768" y="153604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9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599634" y="424001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8430170" y="224539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1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897602" y="2974559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648" y="3442277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29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4"/>
          <a:srcRect l="6260" r="1257" b="6678"/>
          <a:stretch/>
        </p:blipFill>
        <p:spPr>
          <a:xfrm>
            <a:off x="4560136" y="1342670"/>
            <a:ext cx="4177362" cy="3327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Renseigner votre identité et vos coordonnées personnelles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709118" y="4783500"/>
            <a:ext cx="5637400" cy="360000"/>
          </a:xfrm>
        </p:spPr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0B9361EE-B38E-4359-A677-AA137D0B2155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0" name="ZoneTexte 9"/>
          <p:cNvSpPr txBox="1"/>
          <p:nvPr/>
        </p:nvSpPr>
        <p:spPr>
          <a:xfrm>
            <a:off x="462013" y="3064945"/>
            <a:ext cx="3724976" cy="101566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fr-FR" sz="1200"/>
              <a:t>    Veuillez renseigner vos identifiants liés à votre adresse mail professionnelle </a:t>
            </a:r>
            <a:r>
              <a:rPr lang="fr-FR" sz="1200" b="1"/>
              <a:t>de préférence </a:t>
            </a:r>
            <a:r>
              <a:rPr lang="fr-FR" sz="1200"/>
              <a:t>(ex: </a:t>
            </a:r>
            <a:r>
              <a:rPr lang="fr-FR" sz="1200">
                <a:hlinkClick r:id="rId5"/>
              </a:rPr>
              <a:t>xxx@ac-lille.fr</a:t>
            </a:r>
            <a:r>
              <a:rPr lang="fr-FR" sz="1200"/>
              <a:t>) </a:t>
            </a:r>
          </a:p>
          <a:p>
            <a:r>
              <a:rPr lang="fr-FR" sz="1200"/>
              <a:t>*</a:t>
            </a:r>
            <a:r>
              <a:rPr lang="fr-FR" sz="1200" i="1"/>
              <a:t>Les champs avec une astérisque sont à renseigner obligatoirement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462013" y="4217137"/>
            <a:ext cx="3724976" cy="4616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r>
              <a:rPr lang="fr-FR"/>
              <a:t>       Lorsque vous cliquez sur             , les éléments renseignés s’enregistrent automatiquement.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6"/>
          <a:srcRect l="4168" t="93394" r="87561" b="1166"/>
          <a:stretch/>
        </p:blipFill>
        <p:spPr>
          <a:xfrm>
            <a:off x="2553477" y="4232841"/>
            <a:ext cx="498422" cy="24658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4" y="4223997"/>
            <a:ext cx="252000" cy="252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629733" y="2415586"/>
            <a:ext cx="2004128" cy="300623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4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8540607" y="2283269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8"/>
          <a:srcRect l="4460" r="2044"/>
          <a:stretch/>
        </p:blipFill>
        <p:spPr>
          <a:xfrm>
            <a:off x="462013" y="1342670"/>
            <a:ext cx="3724976" cy="14716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17423" y="3108940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92166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6"/>
          <a:srcRect l="2571" t="3239" r="979" b="3076"/>
          <a:stretch/>
        </p:blipFill>
        <p:spPr>
          <a:xfrm>
            <a:off x="312237" y="1635719"/>
            <a:ext cx="5979381" cy="25358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Renseigner votre académie cible (i.e. l’académie à laquelle s’adresse votre recours) 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A49A5A57-420B-4906-8530-446316791233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7" name="ZoneTexte 6"/>
          <p:cNvSpPr txBox="1"/>
          <p:nvPr/>
        </p:nvSpPr>
        <p:spPr>
          <a:xfrm>
            <a:off x="6448926" y="2230995"/>
            <a:ext cx="2468528" cy="193899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r>
              <a:rPr lang="fr-FR"/>
              <a:t>   Des informations contextuelles informant notamment des dates d’ouverture et de fermeture de la période de recours de votre académie s’affichent alors automatiquement. </a:t>
            </a:r>
          </a:p>
          <a:p>
            <a:endParaRPr lang="fr-FR"/>
          </a:p>
          <a:p>
            <a:r>
              <a:rPr lang="fr-FR"/>
              <a:t>       Au-delà de cette date, il ne sera plus possible de déposer un recours.</a:t>
            </a:r>
          </a:p>
        </p:txBody>
      </p:sp>
      <p:sp>
        <p:nvSpPr>
          <p:cNvPr id="8" name="Rectangle 7"/>
          <p:cNvSpPr/>
          <p:nvPr/>
        </p:nvSpPr>
        <p:spPr>
          <a:xfrm>
            <a:off x="803082" y="2719346"/>
            <a:ext cx="3070108" cy="238539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855" y="3462100"/>
            <a:ext cx="288000" cy="288000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364057" y="1908313"/>
            <a:ext cx="2991885" cy="397565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16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289869" y="182701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7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3803873" y="258646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448926" y="1641710"/>
            <a:ext cx="2468528" cy="4616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r>
              <a:rPr lang="fr-FR"/>
              <a:t>   Sélectionner dans la liste déroulante l’académie cible</a:t>
            </a:r>
          </a:p>
        </p:txBody>
      </p:sp>
      <p:sp>
        <p:nvSpPr>
          <p:cNvPr id="20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6474410" y="1668256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1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6474410" y="226660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66660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7"/>
          <a:srcRect l="3383" r="2255"/>
          <a:stretch/>
        </p:blipFill>
        <p:spPr>
          <a:xfrm>
            <a:off x="4179240" y="3072555"/>
            <a:ext cx="4820380" cy="1577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3560" y="1158867"/>
            <a:ext cx="4434840" cy="1732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Choisir votre académie actuelle /établissement d’affectation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6BD1B2C-CFCF-4D18-A0C5-7004464FB287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3" name="ZoneTexte 12"/>
          <p:cNvSpPr txBox="1"/>
          <p:nvPr/>
        </p:nvSpPr>
        <p:spPr>
          <a:xfrm>
            <a:off x="213560" y="3004704"/>
            <a:ext cx="3746552" cy="175432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pPr algn="ctr"/>
            <a:r>
              <a:rPr lang="fr-FR" b="1">
                <a:solidFill>
                  <a:srgbClr val="8E8ED5"/>
                </a:solidFill>
              </a:rPr>
              <a:t>Cas de figure n°2</a:t>
            </a:r>
          </a:p>
          <a:p>
            <a:r>
              <a:rPr lang="fr-FR"/>
              <a:t>Si vous effectuez une </a:t>
            </a:r>
            <a:r>
              <a:rPr lang="fr-FR" b="1"/>
              <a:t>demande dans la même académie que votre académie actuelle</a:t>
            </a:r>
            <a:r>
              <a:rPr lang="fr-FR"/>
              <a:t>, il vous sera ensuite </a:t>
            </a:r>
            <a:r>
              <a:rPr lang="fr-FR" b="1"/>
              <a:t>demandé de renseigner votre établissement d’affectation</a:t>
            </a:r>
            <a:r>
              <a:rPr lang="fr-FR"/>
              <a:t>.</a:t>
            </a:r>
          </a:p>
          <a:p>
            <a:endParaRPr lang="fr-FR"/>
          </a:p>
          <a:p>
            <a:r>
              <a:rPr lang="fr-FR" b="1"/>
              <a:t>S’il n’apparait pas dans la liste </a:t>
            </a:r>
            <a:r>
              <a:rPr lang="fr-FR"/>
              <a:t>déroulante   ,</a:t>
            </a:r>
          </a:p>
          <a:p>
            <a:r>
              <a:rPr lang="fr-FR"/>
              <a:t>vous avez la </a:t>
            </a:r>
            <a:r>
              <a:rPr lang="fr-FR" b="1"/>
              <a:t>possibilité de le saisir manuellement dans les nouveaux champs </a:t>
            </a:r>
            <a:r>
              <a:rPr lang="fr-FR"/>
              <a:t>qui apparaissent. 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957011" y="1747669"/>
            <a:ext cx="4042609" cy="120032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pPr algn="ctr"/>
            <a:r>
              <a:rPr lang="fr-FR" b="1">
                <a:solidFill>
                  <a:srgbClr val="8E8ED5"/>
                </a:solidFill>
              </a:rPr>
              <a:t>Cas de figure n°1</a:t>
            </a:r>
          </a:p>
          <a:p>
            <a:r>
              <a:rPr lang="fr-FR"/>
              <a:t>Si vous effectuez une </a:t>
            </a:r>
            <a:r>
              <a:rPr lang="fr-FR" b="1"/>
              <a:t>demande dans une académie différente de votre académie actuelle</a:t>
            </a:r>
            <a:r>
              <a:rPr lang="fr-FR"/>
              <a:t>, il ne vous sera </a:t>
            </a:r>
            <a:r>
              <a:rPr lang="fr-FR" b="1"/>
              <a:t>pas demandé </a:t>
            </a:r>
            <a:r>
              <a:rPr lang="fr-FR"/>
              <a:t>de saisir votre </a:t>
            </a:r>
            <a:r>
              <a:rPr lang="fr-FR" b="1"/>
              <a:t>établissement d’affectation</a:t>
            </a:r>
            <a:r>
              <a:rPr lang="fr-FR"/>
              <a:t>.</a:t>
            </a:r>
          </a:p>
          <a:p>
            <a:endParaRPr lang="fr-FR"/>
          </a:p>
        </p:txBody>
      </p:sp>
      <p:sp>
        <p:nvSpPr>
          <p:cNvPr id="16" name="ZoneTexte 15"/>
          <p:cNvSpPr txBox="1"/>
          <p:nvPr/>
        </p:nvSpPr>
        <p:spPr>
          <a:xfrm>
            <a:off x="4957011" y="1150150"/>
            <a:ext cx="4042609" cy="4616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r>
              <a:rPr lang="fr-FR" dirty="0"/>
              <a:t>    Sélectionner votre « Académie actuelle » dans la liste déroulante en cliquant sur la flèche</a:t>
            </a: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9"/>
          <a:srcRect l="31777" t="21154" r="66338" b="76660"/>
          <a:stretch/>
        </p:blipFill>
        <p:spPr>
          <a:xfrm>
            <a:off x="7419340" y="1414812"/>
            <a:ext cx="149226" cy="117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0"/>
              </a:srgbClr>
            </a:outerShdw>
          </a:effectLst>
        </p:spPr>
      </p:pic>
      <p:sp>
        <p:nvSpPr>
          <p:cNvPr id="18" name="Rectangle 17"/>
          <p:cNvSpPr/>
          <p:nvPr/>
        </p:nvSpPr>
        <p:spPr>
          <a:xfrm>
            <a:off x="220465" y="2403201"/>
            <a:ext cx="4382814" cy="288000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5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317688" y="415014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171805" y="4029272"/>
            <a:ext cx="4717718" cy="544129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0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8782495" y="3888791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2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999674" y="118998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20465" y="2025547"/>
            <a:ext cx="1523668" cy="288000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8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1663932" y="187691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9" name="1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490125" y="2267001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83041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Renseigner votre situation professionnelle, corps et discipline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62460DE-491A-4226-98C4-55ACBFD3347E}" type="datetime1">
              <a:rPr lang="fr-FR" b="0" cap="all" smtClean="0"/>
              <a:t>25/05/2021</a:t>
            </a:fld>
            <a:endParaRPr lang="fr-FR" b="0" cap="all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 rotWithShape="1">
          <a:blip r:embed="rId8"/>
          <a:srcRect l="6339" t="44800" r="47507" b="2820"/>
          <a:stretch/>
        </p:blipFill>
        <p:spPr>
          <a:xfrm>
            <a:off x="584199" y="1244600"/>
            <a:ext cx="3708401" cy="29744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ZoneTexte 5"/>
          <p:cNvSpPr txBox="1"/>
          <p:nvPr/>
        </p:nvSpPr>
        <p:spPr>
          <a:xfrm>
            <a:off x="5937095" y="1341556"/>
            <a:ext cx="2827918" cy="6463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1"/>
            </a:lvl1pPr>
          </a:lstStyle>
          <a:p>
            <a:r>
              <a:rPr lang="fr-FR" b="0"/>
              <a:t>    Choisissez votre </a:t>
            </a:r>
            <a:r>
              <a:rPr lang="fr-FR"/>
              <a:t>situation professionnelle </a:t>
            </a:r>
            <a:r>
              <a:rPr lang="fr-FR" b="0"/>
              <a:t>parmi la liste déroulante (Titulaire – Stagiaire)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937095" y="3560956"/>
            <a:ext cx="2827918" cy="6463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1"/>
            </a:lvl1pPr>
          </a:lstStyle>
          <a:p>
            <a:r>
              <a:rPr lang="fr-FR" b="0"/>
              <a:t>    Choisissez votre </a:t>
            </a:r>
            <a:r>
              <a:rPr lang="fr-FR"/>
              <a:t>discipline d’enseignement </a:t>
            </a:r>
            <a:r>
              <a:rPr lang="fr-FR" b="0"/>
              <a:t>parmi la liste déroulante</a:t>
            </a:r>
          </a:p>
        </p:txBody>
      </p:sp>
      <p:sp>
        <p:nvSpPr>
          <p:cNvPr id="20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90140" y="1132205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1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90140" y="2945679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sp>
        <p:nvSpPr>
          <p:cNvPr id="22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5967527" y="139858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23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967527" y="359980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3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0AC96552-A568-429A-A443-8599C91B51B5}"/>
              </a:ext>
            </a:extLst>
          </p:cNvPr>
          <p:cNvSpPr txBox="1"/>
          <p:nvPr/>
        </p:nvSpPr>
        <p:spPr>
          <a:xfrm>
            <a:off x="5937095" y="2543589"/>
            <a:ext cx="2827918" cy="4616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 b="1"/>
            </a:lvl1pPr>
          </a:lstStyle>
          <a:p>
            <a:r>
              <a:rPr lang="fr-FR" b="0"/>
              <a:t>    Choisissez votre</a:t>
            </a:r>
            <a:r>
              <a:rPr lang="fr-FR"/>
              <a:t> corps </a:t>
            </a:r>
            <a:r>
              <a:rPr lang="fr-FR" b="0"/>
              <a:t>en cochant une case</a:t>
            </a:r>
          </a:p>
        </p:txBody>
      </p:sp>
      <p:sp>
        <p:nvSpPr>
          <p:cNvPr id="17" name="1">
            <a:extLst>
              <a:ext uri="{FF2B5EF4-FFF2-40B4-BE49-F238E27FC236}">
                <a16:creationId xmlns:a16="http://schemas.microsoft.com/office/drawing/2014/main" id="{412A4AD0-5DBF-4C71-8815-A92482A2BC45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90140" y="175027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8" name="1">
            <a:extLst>
              <a:ext uri="{FF2B5EF4-FFF2-40B4-BE49-F238E27FC236}">
                <a16:creationId xmlns:a16="http://schemas.microsoft.com/office/drawing/2014/main" id="{5E48E440-7201-4500-B2E1-7B952C724F48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967527" y="2592633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4475" y="3100039"/>
            <a:ext cx="1652940" cy="237893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14475" y="1880840"/>
            <a:ext cx="556403" cy="193288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4475" y="1260089"/>
            <a:ext cx="1489388" cy="226740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80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10"/>
          <a:srcRect l="2287" r="1699"/>
          <a:stretch/>
        </p:blipFill>
        <p:spPr>
          <a:xfrm>
            <a:off x="136229" y="1095720"/>
            <a:ext cx="4233346" cy="13864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Renseigner le résultat du mouvement obtenu (1/2)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C713C43-2E1A-46D1-8706-A4C13C8187B6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24" name="ZoneTexte 23"/>
          <p:cNvSpPr txBox="1"/>
          <p:nvPr/>
        </p:nvSpPr>
        <p:spPr>
          <a:xfrm>
            <a:off x="4502197" y="1069103"/>
            <a:ext cx="4484913" cy="378565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pPr algn="ctr"/>
            <a:r>
              <a:rPr lang="fr-FR" b="1">
                <a:solidFill>
                  <a:srgbClr val="8E8ED5"/>
                </a:solidFill>
              </a:rPr>
              <a:t>Cas de figure n°1 (recours réglementaires)</a:t>
            </a:r>
          </a:p>
          <a:p>
            <a:r>
              <a:rPr lang="fr-FR"/>
              <a:t>    </a:t>
            </a:r>
            <a:r>
              <a:rPr lang="fr-FR" b="1"/>
              <a:t>Pour effectuer un recours suite à une affectation </a:t>
            </a:r>
          </a:p>
          <a:p>
            <a:r>
              <a:rPr lang="fr-FR" b="1"/>
              <a:t>    insatisfaisante ou un refus de mutation</a:t>
            </a:r>
            <a:r>
              <a:rPr lang="fr-FR"/>
              <a:t>, veuillez cocher     </a:t>
            </a:r>
          </a:p>
          <a:p>
            <a:r>
              <a:rPr lang="fr-FR"/>
              <a:t>    « j’ai obtenu une affectation en dehors de mes vœux » ou </a:t>
            </a:r>
          </a:p>
          <a:p>
            <a:r>
              <a:rPr lang="fr-FR"/>
              <a:t>    « je n’ai pas obtenu de mutation ».</a:t>
            </a:r>
          </a:p>
          <a:p>
            <a:endParaRPr lang="fr-FR"/>
          </a:p>
          <a:p>
            <a:r>
              <a:rPr lang="fr-FR" b="1"/>
              <a:t>Si vous souhaitez indiquer être assisté par un représentant désigné par une organisation syndicale représentative</a:t>
            </a:r>
            <a:r>
              <a:rPr lang="fr-FR"/>
              <a:t>, des informations contextuelles apparaitront, vous invitant à:</a:t>
            </a:r>
          </a:p>
          <a:p>
            <a:endParaRPr lang="fr-FR"/>
          </a:p>
          <a:p>
            <a:pPr marL="171450" indent="-171450">
              <a:buFontTx/>
              <a:buChar char="-"/>
            </a:pPr>
            <a:r>
              <a:rPr lang="fr-FR"/>
              <a:t>Sélectionner dans la liste déroulante </a:t>
            </a:r>
            <a:r>
              <a:rPr lang="fr-FR" b="1"/>
              <a:t>le nom de l’organisation syndicale</a:t>
            </a:r>
            <a:r>
              <a:rPr lang="fr-FR"/>
              <a:t> vous représentant</a:t>
            </a:r>
          </a:p>
          <a:p>
            <a:pPr marL="171450" indent="-171450">
              <a:buFontTx/>
              <a:buChar char="-"/>
            </a:pPr>
            <a:endParaRPr lang="fr-FR"/>
          </a:p>
          <a:p>
            <a:pPr marL="171450" indent="-171450">
              <a:buFontTx/>
              <a:buChar char="-"/>
            </a:pPr>
            <a:r>
              <a:rPr lang="fr-FR"/>
              <a:t>Entrer manuellement le </a:t>
            </a:r>
            <a:r>
              <a:rPr lang="fr-FR" b="1"/>
              <a:t>nom du représentant de l’organisation syndicale </a:t>
            </a:r>
            <a:r>
              <a:rPr lang="fr-FR"/>
              <a:t>que vous avez contacté au préalable</a:t>
            </a:r>
          </a:p>
          <a:p>
            <a:pPr marL="171450" indent="-171450">
              <a:buFontTx/>
              <a:buChar char="-"/>
            </a:pPr>
            <a:endParaRPr lang="fr-FR"/>
          </a:p>
          <a:p>
            <a:r>
              <a:rPr lang="fr-FR"/>
              <a:t>    Enfin, </a:t>
            </a:r>
            <a:r>
              <a:rPr lang="fr-FR" b="1"/>
              <a:t>cocher la case attestant de la sincérité des     </a:t>
            </a:r>
          </a:p>
          <a:p>
            <a:r>
              <a:rPr lang="fr-FR" b="1"/>
              <a:t>    informations fournies </a:t>
            </a:r>
            <a:r>
              <a:rPr lang="fr-FR"/>
              <a:t>tout au long du formulaire pour </a:t>
            </a:r>
          </a:p>
          <a:p>
            <a:r>
              <a:rPr lang="fr-FR"/>
              <a:t>    accéder à la page de validation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70985" y="1434789"/>
            <a:ext cx="1750973" cy="151661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6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7241" y="1309209"/>
            <a:ext cx="168264" cy="163536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9" name="Flèche vers le bas 8"/>
          <p:cNvSpPr/>
          <p:nvPr/>
        </p:nvSpPr>
        <p:spPr>
          <a:xfrm>
            <a:off x="2122041" y="2624253"/>
            <a:ext cx="261722" cy="396000"/>
          </a:xfrm>
          <a:prstGeom prst="downArrow">
            <a:avLst/>
          </a:prstGeom>
          <a:solidFill>
            <a:srgbClr val="8E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40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563570" y="1284555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1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4563570" y="2928492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2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563570" y="346556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8" name="1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563570" y="421967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4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8" name="Groupe 7"/>
          <p:cNvGrpSpPr/>
          <p:nvPr/>
        </p:nvGrpSpPr>
        <p:grpSpPr>
          <a:xfrm>
            <a:off x="104411" y="3314865"/>
            <a:ext cx="4265164" cy="1464834"/>
            <a:chOff x="104412" y="3114146"/>
            <a:chExt cx="4580967" cy="1617394"/>
          </a:xfrm>
        </p:grpSpPr>
        <p:pic>
          <p:nvPicPr>
            <p:cNvPr id="12" name="Image 1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49379" y="3114146"/>
              <a:ext cx="4536000" cy="161739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3" name="Rectangle 42"/>
            <p:cNvSpPr/>
            <p:nvPr/>
          </p:nvSpPr>
          <p:spPr>
            <a:xfrm>
              <a:off x="212730" y="3444735"/>
              <a:ext cx="3608422" cy="297365"/>
            </a:xfrm>
            <a:prstGeom prst="rect">
              <a:avLst/>
            </a:prstGeom>
            <a:noFill/>
            <a:ln>
              <a:solidFill>
                <a:srgbClr val="8E8E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tx1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12729" y="3831314"/>
              <a:ext cx="1117983" cy="277225"/>
            </a:xfrm>
            <a:prstGeom prst="rect">
              <a:avLst/>
            </a:prstGeom>
            <a:noFill/>
            <a:ln>
              <a:solidFill>
                <a:srgbClr val="8E8E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tx1"/>
                </a:solidFill>
              </a:endParaRPr>
            </a:p>
          </p:txBody>
        </p:sp>
        <p:sp>
          <p:nvSpPr>
            <p:cNvPr id="45" name="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104412" y="3733119"/>
              <a:ext cx="180000" cy="180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 noProof="0">
                  <a:solidFill>
                    <a:prstClr val="white"/>
                  </a:solidFill>
                  <a:latin typeface="Calibri" panose="020F0502020204030204"/>
                </a:rPr>
                <a:t>3</a:t>
              </a:r>
              <a:endPara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09012" y="4225320"/>
              <a:ext cx="2073271" cy="230460"/>
            </a:xfrm>
            <a:prstGeom prst="rect">
              <a:avLst/>
            </a:prstGeom>
            <a:noFill/>
            <a:ln>
              <a:solidFill>
                <a:srgbClr val="8E8ED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800">
                <a:solidFill>
                  <a:schemeClr val="tx1"/>
                </a:solidFill>
              </a:endParaRPr>
            </a:p>
          </p:txBody>
        </p:sp>
        <p:sp>
          <p:nvSpPr>
            <p:cNvPr id="49" name="1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104412" y="4108539"/>
              <a:ext cx="180000" cy="180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>
                  <a:solidFill>
                    <a:prstClr val="white"/>
                  </a:solidFill>
                  <a:latin typeface="Calibri" panose="020F0502020204030204"/>
                </a:rPr>
                <a:t>4</a:t>
              </a:r>
              <a:endPara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5" name="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104412" y="3339106"/>
              <a:ext cx="180000" cy="180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>
                  <a:solidFill>
                    <a:prstClr val="white"/>
                  </a:solidFill>
                  <a:latin typeface="Calibri" panose="020F0502020204030204"/>
                </a:rPr>
                <a:t>2</a:t>
              </a:r>
              <a:endParaRPr kumimoji="0" lang="fr-FR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55485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72000" y="1033349"/>
            <a:ext cx="9000000" cy="38583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0684" y="1256823"/>
            <a:ext cx="4327728" cy="2012112"/>
          </a:xfrm>
          <a:prstGeom prst="rect">
            <a:avLst/>
          </a:prstGeom>
        </p:spPr>
      </p:pic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/>
              <a:t>Renseigner le résultat du mouvement obtenu (2/2)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2 / Remplir le formulair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LIBRIS Mode opératoire Enseignant </a:t>
            </a:r>
            <a:endParaRPr lang="fr-FR" b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5E6663C4-85ED-4D7D-B5A9-97889B49D90D}" type="datetime1">
              <a:rPr lang="fr-FR" b="0" cap="all" smtClean="0"/>
              <a:t>25/05/2021</a:t>
            </a:fld>
            <a:endParaRPr lang="fr-FR" b="0" cap="all"/>
          </a:p>
        </p:txBody>
      </p:sp>
      <p:sp>
        <p:nvSpPr>
          <p:cNvPr id="18" name="Rectangle 17"/>
          <p:cNvSpPr/>
          <p:nvPr/>
        </p:nvSpPr>
        <p:spPr>
          <a:xfrm>
            <a:off x="248111" y="1753860"/>
            <a:ext cx="1640162" cy="97242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50005" y="2615647"/>
            <a:ext cx="4220395" cy="623691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8" name="1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43652" y="1593268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9" name="1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43652" y="250961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4732191" y="1267739"/>
            <a:ext cx="4042609" cy="341632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200"/>
            </a:lvl1pPr>
          </a:lstStyle>
          <a:p>
            <a:pPr algn="ctr"/>
            <a:r>
              <a:rPr lang="fr-FR" b="1" dirty="0">
                <a:solidFill>
                  <a:srgbClr val="8E8ED5"/>
                </a:solidFill>
              </a:rPr>
              <a:t>Cas de figure n°2 (non prévus par la réglementation)</a:t>
            </a:r>
          </a:p>
          <a:p>
            <a:pPr algn="ctr"/>
            <a:endParaRPr lang="fr-FR" b="1" dirty="0">
              <a:solidFill>
                <a:srgbClr val="8E8ED5"/>
              </a:solidFill>
            </a:endParaRPr>
          </a:p>
          <a:p>
            <a:r>
              <a:rPr lang="fr-FR" b="1" dirty="0"/>
              <a:t>Si votre demande ne s’inscrit pas dans le cadre d’un recours réglementaire</a:t>
            </a:r>
            <a:r>
              <a:rPr lang="fr-FR" dirty="0"/>
              <a:t>, </a:t>
            </a:r>
            <a:r>
              <a:rPr lang="fr-FR" b="1" dirty="0"/>
              <a:t>veuillez cocher « Autre cas »</a:t>
            </a:r>
            <a:r>
              <a:rPr lang="fr-FR" dirty="0"/>
              <a:t>       et préciser la nature de votre demande dans l’espace « Observations ». </a:t>
            </a:r>
          </a:p>
          <a:p>
            <a:r>
              <a:rPr lang="fr-FR" dirty="0"/>
              <a:t>Par ailleurs, il vous sera demandé de </a:t>
            </a:r>
            <a:r>
              <a:rPr lang="fr-FR" b="1" dirty="0"/>
              <a:t>préciser l’intitulé du poste obtenu </a:t>
            </a:r>
            <a:r>
              <a:rPr lang="fr-FR" dirty="0"/>
              <a:t>dans « poste obtenu »     ,</a:t>
            </a:r>
            <a:r>
              <a:rPr lang="fr-FR" b="1" dirty="0"/>
              <a:t>et </a:t>
            </a:r>
            <a:r>
              <a:rPr lang="fr-FR" dirty="0"/>
              <a:t>le </a:t>
            </a:r>
            <a:r>
              <a:rPr lang="fr-FR" b="1" dirty="0"/>
              <a:t>rang du vœu </a:t>
            </a:r>
            <a:r>
              <a:rPr lang="fr-FR" dirty="0"/>
              <a:t>dans l’espace dédié (« Observations »).</a:t>
            </a:r>
          </a:p>
          <a:p>
            <a:endParaRPr lang="fr-FR" dirty="0"/>
          </a:p>
          <a:p>
            <a:r>
              <a:rPr lang="fr-FR" b="1" dirty="0"/>
              <a:t>Si vous souhaitez indiquer être assisté par une organisation syndicale, des informations relatives à l’organisation syndicale et à votre représentant seront à préciser</a:t>
            </a:r>
            <a:r>
              <a:rPr lang="fr-FR" dirty="0"/>
              <a:t> (</a:t>
            </a:r>
            <a:r>
              <a:rPr lang="fr-FR" dirty="0" err="1"/>
              <a:t>cf</a:t>
            </a:r>
            <a:r>
              <a:rPr lang="fr-FR" dirty="0"/>
              <a:t> capture page 8).</a:t>
            </a:r>
          </a:p>
          <a:p>
            <a:endParaRPr lang="fr-FR" dirty="0"/>
          </a:p>
          <a:p>
            <a:r>
              <a:rPr lang="fr-FR" dirty="0"/>
              <a:t>Sinon, (    ) vous pouvez directement </a:t>
            </a:r>
            <a:r>
              <a:rPr lang="fr-FR" b="1" dirty="0"/>
              <a:t>attester de la sincérité des informations fournies </a:t>
            </a:r>
            <a:r>
              <a:rPr lang="fr-FR" dirty="0"/>
              <a:t>avant de passer à la page suivante dans le formulaire.</a:t>
            </a:r>
          </a:p>
        </p:txBody>
      </p:sp>
      <p:sp>
        <p:nvSpPr>
          <p:cNvPr id="31" name="1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7586745" y="2597450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 dirty="0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2" name="1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8100526" y="2770969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11"/>
          <a:srcRect l="2177" r="1555"/>
          <a:stretch/>
        </p:blipFill>
        <p:spPr>
          <a:xfrm>
            <a:off x="230684" y="3862356"/>
            <a:ext cx="4327728" cy="7989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7" name="Rectangle 36"/>
          <p:cNvSpPr/>
          <p:nvPr/>
        </p:nvSpPr>
        <p:spPr>
          <a:xfrm>
            <a:off x="261156" y="2247835"/>
            <a:ext cx="4209244" cy="300304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42" name="1"/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143652" y="2108347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solidFill>
                  <a:prstClr val="white"/>
                </a:solidFill>
                <a:latin typeface="Calibri" panose="020F0502020204030204"/>
              </a:rPr>
              <a:t>2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3" name="1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6068194" y="2242890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 dirty="0">
                <a:solidFill>
                  <a:prstClr val="white"/>
                </a:solidFill>
                <a:latin typeface="Calibri" panose="020F0502020204030204"/>
              </a:rPr>
              <a:t>1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24970" y="3871484"/>
            <a:ext cx="4332515" cy="302927"/>
          </a:xfrm>
          <a:prstGeom prst="rect">
            <a:avLst/>
          </a:prstGeom>
          <a:noFill/>
          <a:ln>
            <a:solidFill>
              <a:srgbClr val="8E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45" name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5342907" y="4076925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 dirty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48" name="1"/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98007" y="3719431"/>
            <a:ext cx="180000" cy="18000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noProof="0">
                <a:solidFill>
                  <a:prstClr val="white"/>
                </a:solidFill>
                <a:latin typeface="Calibri" panose="020F0502020204030204"/>
              </a:rPr>
              <a:t>4</a:t>
            </a:r>
            <a:endParaRPr kumimoji="0" lang="fr-FR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092036" y="2071928"/>
            <a:ext cx="138546" cy="103909"/>
          </a:xfrm>
          <a:prstGeom prst="rect">
            <a:avLst/>
          </a:prstGeom>
          <a:solidFill>
            <a:srgbClr val="79A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  <p:sp>
        <p:nvSpPr>
          <p:cNvPr id="26" name="Flèche vers le bas 25"/>
          <p:cNvSpPr/>
          <p:nvPr/>
        </p:nvSpPr>
        <p:spPr>
          <a:xfrm>
            <a:off x="2263687" y="3412273"/>
            <a:ext cx="261722" cy="396000"/>
          </a:xfrm>
          <a:prstGeom prst="downArrow">
            <a:avLst/>
          </a:prstGeom>
          <a:solidFill>
            <a:srgbClr val="8E8E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927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1*number*numbering*figures*one"/>
</p:tagLst>
</file>

<file path=ppt/theme/theme1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ctr">
          <a:defRPr sz="8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2.xml><?xml version="1.0" encoding="utf-8"?>
<a:theme xmlns:a="http://schemas.openxmlformats.org/drawingml/2006/main" name="Bearing Point Blue - Purple">
  <a:themeElements>
    <a:clrScheme name="Personnalisé 36">
      <a:dk1>
        <a:srgbClr val="000000"/>
      </a:dk1>
      <a:lt1>
        <a:sysClr val="window" lastClr="FFFFFF"/>
      </a:lt1>
      <a:dk2>
        <a:srgbClr val="6C03A8"/>
      </a:dk2>
      <a:lt2>
        <a:srgbClr val="29D5FF"/>
      </a:lt2>
      <a:accent1>
        <a:srgbClr val="6C03A8"/>
      </a:accent1>
      <a:accent2>
        <a:srgbClr val="29D5FF"/>
      </a:accent2>
      <a:accent3>
        <a:srgbClr val="D8D8D8"/>
      </a:accent3>
      <a:accent4>
        <a:srgbClr val="A5A5A5"/>
      </a:accent4>
      <a:accent5>
        <a:srgbClr val="7F7F7F"/>
      </a:accent5>
      <a:accent6>
        <a:srgbClr val="595959"/>
      </a:accent6>
      <a:hlink>
        <a:srgbClr val="FFFFFF"/>
      </a:hlink>
      <a:folHlink>
        <a:srgbClr val="023B88"/>
      </a:folHlink>
    </a:clrScheme>
    <a:fontScheme name="Bearingpoi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B7B1A9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earingPoint Template 16-9 by Slidor v0.2.potx" id="{AD0FDBAD-F9C7-4BD7-B62F-277561A841ED}" vid="{94BD256D-9234-4E37-85A0-202FE6C55E86}"/>
    </a:ext>
  </a:extLst>
</a:theme>
</file>

<file path=ppt/theme/theme3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ctr">
          <a:defRPr sz="8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pt_ministeriel_marianne" id="{5F0B8B09-9A99-4083-B883-79F2388C6E1D}" vid="{F8005780-5DEF-4BE0-805B-EA49FB1EABC6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147C0A7B3E47E44BE475D699DD78A1E" ma:contentTypeVersion="8" ma:contentTypeDescription="Create a new document." ma:contentTypeScope="" ma:versionID="8979e52e865f8a4ef12dc37163528dc5">
  <xsd:schema xmlns:xsd="http://www.w3.org/2001/XMLSchema" xmlns:xs="http://www.w3.org/2001/XMLSchema" xmlns:p="http://schemas.microsoft.com/office/2006/metadata/properties" xmlns:ns2="3b051dde-ecb1-4bbf-ac1c-e7e71b0c56ce" xmlns:ns3="41a68bc0-fabe-42bd-9681-7fb1b621cee6" targetNamespace="http://schemas.microsoft.com/office/2006/metadata/properties" ma:root="true" ma:fieldsID="06034a10e60ea3f6efddab01aaac5f27" ns2:_="" ns3:_="">
    <xsd:import namespace="3b051dde-ecb1-4bbf-ac1c-e7e71b0c56ce"/>
    <xsd:import namespace="41a68bc0-fabe-42bd-9681-7fb1b621ce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51dde-ecb1-4bbf-ac1c-e7e71b0c56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a68bc0-fabe-42bd-9681-7fb1b621cee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7FCC5BC-9748-4C58-B8A6-48173EAA392C}">
  <ds:schemaRefs>
    <ds:schemaRef ds:uri="3b051dde-ecb1-4bbf-ac1c-e7e71b0c56ce"/>
    <ds:schemaRef ds:uri="41a68bc0-fabe-42bd-9681-7fb1b621cee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D416C5A-7AEB-4464-B116-D5E8F5627C9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B279A5-87A2-445D-95C3-916EB9C5F0E3}">
  <ds:schemaRefs>
    <ds:schemaRef ds:uri="http://purl.org/dc/elements/1.1/"/>
    <ds:schemaRef ds:uri="http://schemas.microsoft.com/office/2006/metadata/properties"/>
    <ds:schemaRef ds:uri="41a68bc0-fabe-42bd-9681-7fb1b621cee6"/>
    <ds:schemaRef ds:uri="3b051dde-ecb1-4bbf-ac1c-e7e71b0c56c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NISTÈRIEL</Template>
  <TotalTime>0</TotalTime>
  <Words>1182</Words>
  <Application>Microsoft Office PowerPoint</Application>
  <PresentationFormat>Affichage à l'écran (16:9)</PresentationFormat>
  <Paragraphs>186</Paragraphs>
  <Slides>13</Slides>
  <Notes>3</Notes>
  <HiddenSlides>0</HiddenSlides>
  <MMClips>0</MMClips>
  <ScaleCrop>false</ScaleCrop>
  <HeadingPairs>
    <vt:vector size="6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3</vt:i4>
      </vt:variant>
      <vt:variant>
        <vt:lpstr>Titres des diapositiv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Montserrat</vt:lpstr>
      <vt:lpstr>Segoe UI</vt:lpstr>
      <vt:lpstr>Segoe UI Semibold</vt:lpstr>
      <vt:lpstr>Verdana</vt:lpstr>
      <vt:lpstr>MINISTÈRIEL</vt:lpstr>
      <vt:lpstr>Bearing Point Blue - Purple</vt:lpstr>
      <vt:lpstr>MINISTÈRIEL</vt:lpstr>
      <vt:lpstr>Présentation PowerPoint</vt:lpstr>
      <vt:lpstr>Objectif du document et table des matières</vt:lpstr>
      <vt:lpstr>1 / Se connecter à la plateforme</vt:lpstr>
      <vt:lpstr>2 / Remplir le formulaire</vt:lpstr>
      <vt:lpstr>2 / Remplir le formulaire</vt:lpstr>
      <vt:lpstr>2 / Remplir le formulaire</vt:lpstr>
      <vt:lpstr>2 / Remplir le formulaire</vt:lpstr>
      <vt:lpstr>2 / Remplir le formulaire</vt:lpstr>
      <vt:lpstr>2 / Remplir le formulaire</vt:lpstr>
      <vt:lpstr>2 / Remplir le formulaire </vt:lpstr>
      <vt:lpstr>3 / Valider l’envoi du formulaire</vt:lpstr>
      <vt:lpstr>4 / Récupérer le code de suivi de traitement de la demande</vt:lpstr>
      <vt:lpstr>5 / Suivre ma demande de recours </vt:lpstr>
    </vt:vector>
  </TitlesOfParts>
  <Manager>Client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Microsoft Office User</dc:creator>
  <cp:lastModifiedBy>TESCAT Ophelie</cp:lastModifiedBy>
  <cp:revision>10</cp:revision>
  <dcterms:created xsi:type="dcterms:W3CDTF">2020-03-05T15:21:24Z</dcterms:created>
  <dcterms:modified xsi:type="dcterms:W3CDTF">2021-05-25T09:4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147C0A7B3E47E44BE475D699DD78A1E</vt:lpwstr>
  </property>
</Properties>
</file>